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4"/>
    <p:sldMasterId id="2147483815" r:id="rId5"/>
    <p:sldMasterId id="2147483891" r:id="rId6"/>
    <p:sldMasterId id="2147483952" r:id="rId7"/>
    <p:sldMasterId id="2147483959" r:id="rId8"/>
  </p:sldMasterIdLst>
  <p:notesMasterIdLst>
    <p:notesMasterId r:id="rId16"/>
  </p:notesMasterIdLst>
  <p:handoutMasterIdLst>
    <p:handoutMasterId r:id="rId17"/>
  </p:handoutMasterIdLst>
  <p:sldIdLst>
    <p:sldId id="5881" r:id="rId9"/>
    <p:sldId id="5886" r:id="rId10"/>
    <p:sldId id="5876" r:id="rId11"/>
    <p:sldId id="5880" r:id="rId12"/>
    <p:sldId id="5887" r:id="rId13"/>
    <p:sldId id="5888" r:id="rId14"/>
    <p:sldId id="5889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й Жандров" initials="АЖ" lastIdx="2" clrIdx="0"/>
  <p:cmAuthor id="2" name="office" initials="Rrr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BFC4"/>
    <a:srgbClr val="99A4AB"/>
    <a:srgbClr val="F9F9FA"/>
    <a:srgbClr val="C2C8CD"/>
    <a:srgbClr val="ABC700"/>
    <a:srgbClr val="A5D8EB"/>
    <a:srgbClr val="2695D3"/>
    <a:srgbClr val="327EBD"/>
    <a:srgbClr val="1E9DDB"/>
    <a:srgbClr val="219B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68" autoAdjust="0"/>
    <p:restoredTop sz="96395" autoAdjust="0"/>
  </p:normalViewPr>
  <p:slideViewPr>
    <p:cSldViewPr showGuides="1">
      <p:cViewPr>
        <p:scale>
          <a:sx n="121" d="100"/>
          <a:sy n="121" d="100"/>
        </p:scale>
        <p:origin x="-678" y="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7542"/>
    </p:cViewPr>
  </p:sorterViewPr>
  <p:notesViewPr>
    <p:cSldViewPr>
      <p:cViewPr varScale="1">
        <p:scale>
          <a:sx n="170" d="100"/>
          <a:sy n="170" d="100"/>
        </p:scale>
        <p:origin x="5376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BF3480E7-DCB1-9445-AFD2-7B13C25149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26F0D84-728E-5B4D-8D19-DAB7378199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E206C-933E-C54B-94CB-CF525CECCA65}" type="datetimeFigureOut">
              <a:t>08.05.2026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3420414-30B9-7743-ABA3-E5D05A9E4D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5E7B456-8CEB-0F4F-AE92-4F697F9922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8C08B-0376-9840-84A6-B0D56A150416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5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49F9D-86CE-4BF5-BEFC-0063BC819220}" type="datetimeFigureOut">
              <a:rPr lang="ru-RU" smtClean="0"/>
              <a:t>08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5FA15-4E1C-487D-9F1E-D5A3ED2250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8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907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>
              <a:solidFill>
                <a:srgbClr val="00579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691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10ED58-F827-4B2C-A21C-5DBCB01FE27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459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4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15" Type="http://schemas.openxmlformats.org/officeDocument/2006/relationships/image" Target="../media/image6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3" descr="bc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0" y="540995"/>
            <a:ext cx="12187680" cy="631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91738" y="35080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85749" y="3726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94521" y="508942"/>
            <a:ext cx="27892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  <a:cs typeface="Arial" charset="0"/>
              </a:rPr>
              <a:t>Last Modified 09.07.2013 9:44 Russian Standard Time</a:t>
            </a:r>
            <a:endParaRPr lang="ru-RU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91839" y="669881"/>
            <a:ext cx="24686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  <a:cs typeface="Arial" charset="0"/>
              </a:rPr>
              <a:t>Printed 09.07.2013 8:46 Russian Standard Time</a:t>
            </a:r>
            <a:endParaRPr lang="ru-RU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3593865" y="6019398"/>
            <a:ext cx="696747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971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  <a:cs typeface="Arial" charset="0"/>
              </a:rPr>
              <a:t>КОНФИДЕНЦИАЛЬНАЯ ИНФОРМАЦИЯ, СОБСТВЕННОСТЬ McKINSEY &amp; COMPANY</a:t>
            </a:r>
          </a:p>
          <a:p>
            <a:pPr defTabSz="6971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  <a:cs typeface="Arial" charset="0"/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2283840"/>
            <a:ext cx="2984827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9225" tIns="39659" rIns="79225" bIns="39659" anchor="ctr"/>
          <a:lstStyle/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29"/>
            <a:ext cx="2984827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9225" tIns="39659" rIns="79225" bIns="39659" anchor="ctr"/>
          <a:lstStyle/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4" y="26"/>
            <a:ext cx="1218768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9225" tIns="39659" rIns="79225" bIns="39659" anchor="ctr"/>
          <a:lstStyle/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109" y="6576972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1103678" y="5135377"/>
            <a:ext cx="7781713" cy="44627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9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pic>
        <p:nvPicPr>
          <p:cNvPr id="25602" name="Picture 2" descr="Russian_Steel_Rus_CMYK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screen">
            <a:lum brigh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558" y="1650795"/>
            <a:ext cx="3509655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1103678" y="5927295"/>
            <a:ext cx="77817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>
                <a:solidFill>
                  <a:srgbClr val="FFFFFF"/>
                </a:solidFill>
                <a:cs typeface="Arial" charset="0"/>
              </a:rPr>
              <a:t>Дата</a:t>
            </a:r>
          </a:p>
        </p:txBody>
      </p:sp>
      <p:sp>
        <p:nvSpPr>
          <p:cNvPr id="17" name="McK Document type" hidden="1"/>
          <p:cNvSpPr txBox="1">
            <a:spLocks noChangeArrowheads="1"/>
          </p:cNvSpPr>
          <p:nvPr userDrawn="1"/>
        </p:nvSpPr>
        <p:spPr bwMode="auto">
          <a:xfrm>
            <a:off x="1103678" y="5668619"/>
            <a:ext cx="77817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>
                <a:solidFill>
                  <a:srgbClr val="FFFFFF"/>
                </a:solidFill>
                <a:cs typeface="Arial" charset="0"/>
              </a:rPr>
              <a:t>Тип документа</a:t>
            </a:r>
          </a:p>
        </p:txBody>
      </p:sp>
    </p:spTree>
    <p:extLst>
      <p:ext uri="{BB962C8B-B14F-4D97-AF65-F5344CB8AC3E}">
        <p14:creationId xmlns:p14="http://schemas.microsoft.com/office/powerpoint/2010/main" val="3418131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134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1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407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86799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3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5504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34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5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2407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7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86799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8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55504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33912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26556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xmlns="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1198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67970F0F-9898-478D-AD56-9AC5CB8561B9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xmlns="" id="{1C442878-F4C2-4530-A4A9-D1022633EE6F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xmlns="" id="{1080C500-E1F3-41A1-859D-E9BB186C608F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xmlns="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9969CFF9-EA23-4816-A325-913254C85A5D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xmlns="" id="{EBBD11E5-3800-4C06-8C9D-FA6A9A56A45A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xmlns="" id="{91B0E24D-062D-4366-B715-F55EF2FBDB9D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xmlns="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xmlns="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xmlns="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xmlns="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xmlns="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xmlns="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xmlns="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Полилиния: фигура 17">
            <a:extLst>
              <a:ext uri="{FF2B5EF4-FFF2-40B4-BE49-F238E27FC236}">
                <a16:creationId xmlns:a16="http://schemas.microsoft.com/office/drawing/2014/main" xmlns="" id="{56E33414-3B4A-42F9-9B3C-DC451B0A6762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B4FC9AAA-6983-40E1-A475-3B67DA42177C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632D4F25-C6AD-432D-AEB6-379EFBD56188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xmlns="" id="{407EC5EB-720E-47A1-B61E-BDFA7C3B75FC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xmlns="" id="{320DD75F-9BF3-476D-9821-1A79F44BECA8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xmlns="" id="{20C824DA-F291-422D-9366-93A6585C320C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xmlns="" id="{6E0E70B7-4A38-42E0-AA9A-7098AC8DF199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5D956954-4237-437C-8DC3-280112C09B24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xmlns="" id="{18F566F9-B90C-4C7D-94B8-6016F910CE49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xmlns="" id="{CE9684D8-C8C8-440B-AE23-521514648E15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86F22C39-B163-4D69-8B0B-7C123B02F50B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xmlns="" id="{76AF4B09-CAEC-4319-8D55-A1EACFF9E0B9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xmlns="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7211584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xmlns="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xmlns="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xmlns="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xmlns="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xmlns="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xmlns="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xmlns="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xmlns="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xmlns="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xmlns="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xmlns="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xmlns="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47129495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BFF2F70-EEE1-4E97-8FB6-5F7221F40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xmlns="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48132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0424596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6517697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xmlns="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xmlns="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xmlns="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xmlns="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xmlns="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xmlns="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xmlns="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xmlns="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Slide Number Placeholder 7">
            <a:extLst>
              <a:ext uri="{FF2B5EF4-FFF2-40B4-BE49-F238E27FC236}">
                <a16:creationId xmlns:a16="http://schemas.microsoft.com/office/drawing/2014/main" xmlns="" id="{E0865DC9-48E3-4E85-A2FB-8283BE80B9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xmlns="" id="{7CC3F587-9F30-4C41-8421-8E9EACA2F7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114394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0486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xmlns="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0486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xmlns="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04865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45976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xmlns="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597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xmlns="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5976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xmlns="" id="{B2902128-9BCC-463B-9EC6-D11C8BCFAD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xmlns="" id="{95493472-4877-442E-ACD9-C851529CA6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697441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xmlns="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xmlns="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xmlns="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xmlns="" id="{B98B5B00-C06A-487C-8747-9B39092F3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9BCA3E88-282F-4D10-8D5F-78D89E8EB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697086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536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406141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6289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938" y="126645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25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0614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62895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1367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536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614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6289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67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60050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59" y="1956787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xmlns="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xmlns="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494288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4663EF5-10C4-49EC-88C8-16AF90F8EC81}"/>
              </a:ext>
            </a:extLst>
          </p:cNvPr>
          <p:cNvSpPr/>
          <p:nvPr userDrawn="1"/>
        </p:nvSpPr>
        <p:spPr>
          <a:xfrm>
            <a:off x="5601505" y="1088740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300F2668-2E4C-4F9B-BCF1-84DE6D299F50}"/>
              </a:ext>
            </a:extLst>
          </p:cNvPr>
          <p:cNvSpPr/>
          <p:nvPr userDrawn="1"/>
        </p:nvSpPr>
        <p:spPr>
          <a:xfrm>
            <a:off x="5601505" y="2416696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5E3DF761-2573-49E8-8067-06735714517B}"/>
              </a:ext>
            </a:extLst>
          </p:cNvPr>
          <p:cNvSpPr/>
          <p:nvPr userDrawn="1"/>
        </p:nvSpPr>
        <p:spPr>
          <a:xfrm>
            <a:off x="5601505" y="3744652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FCBBC2A5-6ADE-4FC4-B775-F0A0B1CA0AEF}"/>
              </a:ext>
            </a:extLst>
          </p:cNvPr>
          <p:cNvSpPr/>
          <p:nvPr userDrawn="1"/>
        </p:nvSpPr>
        <p:spPr>
          <a:xfrm>
            <a:off x="5593493" y="5072608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Рисунок 13">
            <a:extLst>
              <a:ext uri="{FF2B5EF4-FFF2-40B4-BE49-F238E27FC236}">
                <a16:creationId xmlns:a16="http://schemas.microsoft.com/office/drawing/2014/main" xmlns="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7988" y="1088740"/>
            <a:ext cx="3379762" cy="257297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5D3D3A01-8AB9-41F1-893E-30590EE88E8E}"/>
              </a:ext>
            </a:extLst>
          </p:cNvPr>
          <p:cNvGrpSpPr/>
          <p:nvPr userDrawn="1"/>
        </p:nvGrpSpPr>
        <p:grpSpPr>
          <a:xfrm>
            <a:off x="407987" y="3559577"/>
            <a:ext cx="3389729" cy="2690231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xmlns="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48" name="Рисунок 13">
            <a:extLst>
              <a:ext uri="{FF2B5EF4-FFF2-40B4-BE49-F238E27FC236}">
                <a16:creationId xmlns:a16="http://schemas.microsoft.com/office/drawing/2014/main" xmlns="" id="{6D4E6D65-E1DC-4D39-A22B-4383C1AD796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20336" y="2416325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xmlns="" id="{7566EF06-F4EE-4A93-B797-4D949201E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20336" y="108874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0" name="Рисунок 13">
            <a:extLst>
              <a:ext uri="{FF2B5EF4-FFF2-40B4-BE49-F238E27FC236}">
                <a16:creationId xmlns:a16="http://schemas.microsoft.com/office/drawing/2014/main" xmlns="" id="{7106A8ED-F888-44BE-A61A-EA9C8336F0A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2324" y="5071496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1" name="Рисунок 13">
            <a:extLst>
              <a:ext uri="{FF2B5EF4-FFF2-40B4-BE49-F238E27FC236}">
                <a16:creationId xmlns:a16="http://schemas.microsoft.com/office/drawing/2014/main" xmlns="" id="{A0E2E3C1-C927-466D-A514-0CF5BDD71A6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0336" y="374391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Slide Number Placeholder 7">
            <a:extLst>
              <a:ext uri="{FF2B5EF4-FFF2-40B4-BE49-F238E27FC236}">
                <a16:creationId xmlns:a16="http://schemas.microsoft.com/office/drawing/2014/main" xmlns="" id="{D575D0C9-6508-40C1-98BA-4B4ADE37A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B9265922-E1C7-42C4-92A8-A04AF38F4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422181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xmlns="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76197" y="1094536"/>
            <a:ext cx="3650976" cy="21184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5D3D3A01-8AB9-41F1-893E-30590EE88E8E}"/>
              </a:ext>
            </a:extLst>
          </p:cNvPr>
          <p:cNvGrpSpPr/>
          <p:nvPr userDrawn="1"/>
        </p:nvGrpSpPr>
        <p:grpSpPr>
          <a:xfrm>
            <a:off x="407987" y="1094537"/>
            <a:ext cx="2669267" cy="2118442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xmlns="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4663EF5-10C4-49EC-88C8-16AF90F8EC81}"/>
              </a:ext>
            </a:extLst>
          </p:cNvPr>
          <p:cNvSpPr/>
          <p:nvPr userDrawn="1"/>
        </p:nvSpPr>
        <p:spPr>
          <a:xfrm>
            <a:off x="40798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0AB26E0-BFEB-4CB9-866C-38ED55F1659D}"/>
              </a:ext>
            </a:extLst>
          </p:cNvPr>
          <p:cNvSpPr/>
          <p:nvPr userDrawn="1"/>
        </p:nvSpPr>
        <p:spPr>
          <a:xfrm>
            <a:off x="330943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89767F2-69AD-4667-BD01-FD679E69D2E5}"/>
              </a:ext>
            </a:extLst>
          </p:cNvPr>
          <p:cNvSpPr/>
          <p:nvPr userDrawn="1"/>
        </p:nvSpPr>
        <p:spPr>
          <a:xfrm>
            <a:off x="621087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3AFB284E-8083-456D-A09D-9AD94EFB6B66}"/>
              </a:ext>
            </a:extLst>
          </p:cNvPr>
          <p:cNvSpPr/>
          <p:nvPr userDrawn="1"/>
        </p:nvSpPr>
        <p:spPr>
          <a:xfrm>
            <a:off x="911232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xmlns="" id="{7566EF06-F4EE-4A93-B797-4D949201E3F2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0798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xmlns="" id="{089C0836-FFC4-4181-9B0B-4CBF759FA12B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3309434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3" name="Рисунок 13">
            <a:extLst>
              <a:ext uri="{FF2B5EF4-FFF2-40B4-BE49-F238E27FC236}">
                <a16:creationId xmlns:a16="http://schemas.microsoft.com/office/drawing/2014/main" xmlns="" id="{7C34B081-7BFA-4FAA-A1B8-26D73B20EB2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1087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Рисунок 13">
            <a:extLst>
              <a:ext uri="{FF2B5EF4-FFF2-40B4-BE49-F238E27FC236}">
                <a16:creationId xmlns:a16="http://schemas.microsoft.com/office/drawing/2014/main" xmlns="" id="{EABCF6EC-FCA7-4E6F-88B2-8F2EA1E9736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12323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xmlns="" id="{13057BA5-882A-4E38-BD39-E7A78D295C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74A28709-B960-483D-A48B-A5375DE004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960096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10C09BF6-5671-4D43-A581-F847DFF8D4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47105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xmlns="" id="{FD647041-7DC6-4AE1-8AF2-866753B73A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00733" y="1089026"/>
            <a:ext cx="1060887" cy="1060888"/>
          </a:xfrm>
          <a:custGeom>
            <a:avLst/>
            <a:gdLst>
              <a:gd name="connsiteX0" fmla="*/ 530443 w 1060887"/>
              <a:gd name="connsiteY0" fmla="*/ 0 h 1060888"/>
              <a:gd name="connsiteX1" fmla="*/ 1060887 w 1060887"/>
              <a:gd name="connsiteY1" fmla="*/ 530444 h 1060888"/>
              <a:gd name="connsiteX2" fmla="*/ 530443 w 1060887"/>
              <a:gd name="connsiteY2" fmla="*/ 1060888 h 1060888"/>
              <a:gd name="connsiteX3" fmla="*/ 10776 w 1060887"/>
              <a:gd name="connsiteY3" fmla="*/ 637347 h 1060888"/>
              <a:gd name="connsiteX4" fmla="*/ 0 w 1060887"/>
              <a:gd name="connsiteY4" fmla="*/ 530454 h 1060888"/>
              <a:gd name="connsiteX5" fmla="*/ 0 w 1060887"/>
              <a:gd name="connsiteY5" fmla="*/ 530434 h 1060888"/>
              <a:gd name="connsiteX6" fmla="*/ 10776 w 1060887"/>
              <a:gd name="connsiteY6" fmla="*/ 423541 h 1060888"/>
              <a:gd name="connsiteX7" fmla="*/ 530443 w 1060887"/>
              <a:gd name="connsiteY7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887" h="1060888">
                <a:moveTo>
                  <a:pt x="530443" y="0"/>
                </a:moveTo>
                <a:cubicBezTo>
                  <a:pt x="823399" y="0"/>
                  <a:pt x="1060887" y="237488"/>
                  <a:pt x="1060887" y="530444"/>
                </a:cubicBezTo>
                <a:cubicBezTo>
                  <a:pt x="1060887" y="823400"/>
                  <a:pt x="823399" y="1060888"/>
                  <a:pt x="530443" y="1060888"/>
                </a:cubicBezTo>
                <a:cubicBezTo>
                  <a:pt x="274107" y="1060888"/>
                  <a:pt x="60238" y="879061"/>
                  <a:pt x="10776" y="637347"/>
                </a:cubicBezTo>
                <a:lnTo>
                  <a:pt x="0" y="530454"/>
                </a:lnTo>
                <a:lnTo>
                  <a:pt x="0" y="530434"/>
                </a:lnTo>
                <a:lnTo>
                  <a:pt x="10776" y="423541"/>
                </a:lnTo>
                <a:cubicBezTo>
                  <a:pt x="60238" y="181827"/>
                  <a:pt x="274107" y="0"/>
                  <a:pt x="53044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xmlns="" id="{49BEBD48-28F8-4D51-BF9F-8D5920D22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54362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8D2DDFC1-EBF1-4825-B5EE-88D59E7F50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890712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5" name="Рисунок 4" descr="Изображение выглядит как электроника, компьютер, ноутбук, монитор&#10;&#10;Автоматически созданное описание">
            <a:extLst>
              <a:ext uri="{FF2B5EF4-FFF2-40B4-BE49-F238E27FC236}">
                <a16:creationId xmlns:a16="http://schemas.microsoft.com/office/drawing/2014/main" xmlns="" id="{6F8DE449-93F0-4B3E-BF6E-DA70302D31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0242" y="1569061"/>
            <a:ext cx="7375008" cy="4421496"/>
          </a:xfrm>
          <a:prstGeom prst="rect">
            <a:avLst/>
          </a:prstGeom>
        </p:spPr>
      </p:pic>
      <p:sp>
        <p:nvSpPr>
          <p:cNvPr id="6" name="Рисунок 5">
            <a:extLst>
              <a:ext uri="{FF2B5EF4-FFF2-40B4-BE49-F238E27FC236}">
                <a16:creationId xmlns:a16="http://schemas.microsoft.com/office/drawing/2014/main" xmlns="" id="{8CE9FA37-E03F-4EEB-9F99-4C952FF194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4534" y="1896378"/>
            <a:ext cx="5686425" cy="3570971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93507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6A1327C-FCD7-4D54-AF17-EC831750C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t="27968" r="19918" b="5923"/>
          <a:stretch/>
        </p:blipFill>
        <p:spPr>
          <a:xfrm>
            <a:off x="-457201" y="1268423"/>
            <a:ext cx="8360229" cy="5589578"/>
          </a:xfrm>
          <a:prstGeom prst="rect">
            <a:avLst/>
          </a:prstGeom>
        </p:spPr>
      </p:pic>
      <p:sp>
        <p:nvSpPr>
          <p:cNvPr id="11" name="Рисунок 5">
            <a:extLst>
              <a:ext uri="{FF2B5EF4-FFF2-40B4-BE49-F238E27FC236}">
                <a16:creationId xmlns:a16="http://schemas.microsoft.com/office/drawing/2014/main" xmlns="" id="{EAA71A6E-20EF-4BCF-9DFF-2CB8AEA0B5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8800" y="1803401"/>
            <a:ext cx="5137150" cy="3873500"/>
          </a:xfrm>
          <a:prstGeom prst="roundRect">
            <a:avLst>
              <a:gd name="adj" fmla="val 1926"/>
            </a:avLst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13133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8B99A217-0E5E-4E23-BC94-45403678D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77" y="1001797"/>
            <a:ext cx="3533085" cy="5385644"/>
          </a:xfrm>
          <a:prstGeom prst="rect">
            <a:avLst/>
          </a:prstGeom>
        </p:spPr>
      </p:pic>
      <p:sp>
        <p:nvSpPr>
          <p:cNvPr id="9" name="Рисунок 5">
            <a:extLst>
              <a:ext uri="{FF2B5EF4-FFF2-40B4-BE49-F238E27FC236}">
                <a16:creationId xmlns:a16="http://schemas.microsoft.com/office/drawing/2014/main" xmlns="" id="{C8280DB4-9A69-46AB-8ED2-9C259D39C1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070" y="1703471"/>
            <a:ext cx="2238375" cy="3979863"/>
          </a:xfrm>
          <a:prstGeom prst="rect">
            <a:avLst/>
          </a:pr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395122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:a16="http://schemas.microsoft.com/office/drawing/2014/main" xmlns="" id="{662B84DF-AD08-4683-8671-F7C73DA42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181" y="1133173"/>
            <a:ext cx="3517972" cy="5322692"/>
          </a:xfrm>
          <a:prstGeom prst="rect">
            <a:avLst/>
          </a:prstGeom>
        </p:spPr>
      </p:pic>
      <p:sp>
        <p:nvSpPr>
          <p:cNvPr id="11" name="Рисунок 36">
            <a:extLst>
              <a:ext uri="{FF2B5EF4-FFF2-40B4-BE49-F238E27FC236}">
                <a16:creationId xmlns:a16="http://schemas.microsoft.com/office/drawing/2014/main" xmlns="" id="{3F22F2FE-3EF0-4977-B157-172050412F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056" y="1281085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061127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644290"/>
            <a:ext cx="5569423" cy="5569423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7230235" y="-935"/>
            <a:ext cx="4961765" cy="2892794"/>
            <a:chOff x="7239008" y="999"/>
            <a:chExt cx="4961765" cy="2892794"/>
          </a:xfrm>
        </p:grpSpPr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xmlns="" id="{932D6109-A8A1-43E9-A7AE-AA48C2C31BA5}"/>
                </a:ext>
              </a:extLst>
            </p:cNvPr>
            <p:cNvSpPr/>
            <p:nvPr/>
          </p:nvSpPr>
          <p:spPr>
            <a:xfrm>
              <a:off x="8479204" y="827687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/>
          </p:nvSpPr>
          <p:spPr>
            <a:xfrm>
              <a:off x="10546087" y="414179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6C7BBB59-47A5-4A40-8191-24ABF08A5E82}"/>
                </a:ext>
              </a:extLst>
            </p:cNvPr>
            <p:cNvSpPr/>
            <p:nvPr/>
          </p:nvSpPr>
          <p:spPr>
            <a:xfrm>
              <a:off x="9305891" y="99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2603 h 1778749"/>
                <a:gd name="connsiteX3" fmla="*/ 1186147 w 1778749"/>
                <a:gd name="connsiteY3" fmla="*/ 592603 h 1778749"/>
                <a:gd name="connsiteX4" fmla="*/ 1186147 w 1778749"/>
                <a:gd name="connsiteY4" fmla="*/ 1778750 h 1778749"/>
                <a:gd name="connsiteX5" fmla="*/ 1778750 w 1778749"/>
                <a:gd name="connsiteY5" fmla="*/ 1185676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2603"/>
                  </a:lnTo>
                  <a:lnTo>
                    <a:pt x="1186147" y="592603"/>
                  </a:lnTo>
                  <a:lnTo>
                    <a:pt x="1186147" y="1778750"/>
                  </a:lnTo>
                  <a:lnTo>
                    <a:pt x="1778750" y="11856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xmlns="" id="{75207CCA-B811-4758-B936-6FA3657A6F74}"/>
                </a:ext>
              </a:extLst>
            </p:cNvPr>
            <p:cNvSpPr/>
            <p:nvPr/>
          </p:nvSpPr>
          <p:spPr>
            <a:xfrm>
              <a:off x="7239008" y="41417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 userDrawn="1"/>
          </p:nvSpPr>
          <p:spPr>
            <a:xfrm>
              <a:off x="10960578" y="1653270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rgbClr val="FF0000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81867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299" y="1371599"/>
            <a:ext cx="4114804" cy="4114802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3091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695482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xmlns="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xmlns="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xmlns="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xmlns="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xmlns="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xmlns="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xmlns="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xmlns="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11126049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круги 2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xmlns="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xmlns="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399353735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xmlns="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xmlns="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xmlns="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xmlns="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4001405"/>
            <a:ext cx="6894454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80954DCA-50B7-425B-AD94-499C9D0C5683}"/>
              </a:ext>
            </a:extLst>
          </p:cNvPr>
          <p:cNvGrpSpPr/>
          <p:nvPr userDrawn="1"/>
        </p:nvGrpSpPr>
        <p:grpSpPr>
          <a:xfrm>
            <a:off x="7717485" y="0"/>
            <a:ext cx="4516612" cy="6858000"/>
            <a:chOff x="7717485" y="0"/>
            <a:chExt cx="4516612" cy="6858000"/>
          </a:xfrm>
        </p:grpSpPr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xmlns="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484671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9E389DCC-8568-4D78-BB75-82983A32AC59}"/>
              </a:ext>
            </a:extLst>
          </p:cNvPr>
          <p:cNvGrpSpPr/>
          <p:nvPr userDrawn="1"/>
        </p:nvGrpSpPr>
        <p:grpSpPr>
          <a:xfrm>
            <a:off x="-13671" y="0"/>
            <a:ext cx="12205671" cy="6858001"/>
            <a:chOff x="-13671" y="0"/>
            <a:chExt cx="12205671" cy="6858001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B85A1A7C-F74A-452F-8FEA-3F27AD259ADC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8BC987C9-F278-4C15-8EFD-F301898FF0DE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93E47FB9-3068-4AF7-952A-7F4499AD883E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xmlns="" id="{8D229612-0641-4976-9F58-EB1D7BC466BD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D8A8FD79-0011-4324-935E-FC2066224F52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ADC61937-7F9C-4CB3-81AC-301803254390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FBC656CA-9B99-4772-90C6-CD92B491B611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32216AA9-87BB-4506-902D-19956F21F168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Текст 39">
            <a:extLst>
              <a:ext uri="{FF2B5EF4-FFF2-40B4-BE49-F238E27FC236}">
                <a16:creationId xmlns:a16="http://schemas.microsoft.com/office/drawing/2014/main" xmlns="" id="{A7FA4B40-C0B0-471E-9072-2FD3537303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4001405"/>
            <a:ext cx="6894454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4" name="Рисунок 3">
            <a:extLst>
              <a:ext uri="{FF2B5EF4-FFF2-40B4-BE49-F238E27FC236}">
                <a16:creationId xmlns:a16="http://schemas.microsoft.com/office/drawing/2014/main" xmlns="" id="{74933002-3000-40D8-81B7-1FDD30C961DD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xmlns="" id="{A8641FEC-D1E4-461A-9A09-1ACD28B60C9D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ABD9B356-E160-484B-8045-6B21E5E89B6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1320051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xmlns="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xmlns="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xmlns="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xmlns="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1785478"/>
            <a:ext cx="6176427" cy="292388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62069699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ент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1AF5ADA-9F79-49F0-A830-9B5AD5F64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664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559754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4259687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1957655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537135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9776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2B587269-F1BD-47D4-AA9E-1B46FFE1542F}"/>
              </a:ext>
            </a:extLst>
          </p:cNvPr>
          <p:cNvGrpSpPr/>
          <p:nvPr userDrawn="1"/>
        </p:nvGrpSpPr>
        <p:grpSpPr>
          <a:xfrm>
            <a:off x="-13671" y="0"/>
            <a:ext cx="12205671" cy="6858001"/>
            <a:chOff x="-13671" y="0"/>
            <a:chExt cx="12205671" cy="6858001"/>
          </a:xfrm>
        </p:grpSpPr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EA969EBF-432C-4515-8C14-8EEA0B09C7A5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97C089B9-17D1-4CF1-A112-9CED47AC82A3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0492A479-D7D5-4FFD-83AE-3B2D8F22EA5C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xmlns="" id="{25CF3C71-58D1-458D-B847-C4D35DC3E4A7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E2D677B2-4C72-4DF7-8894-7BBC6A1EE9E1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BFD76563-2092-4A48-A158-A23B9032F005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ED36502E-D170-4C86-847C-D622CA863D2B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37487D10-BEBE-4419-BF19-9232C592D269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33" name="Текст 3">
            <a:extLst>
              <a:ext uri="{FF2B5EF4-FFF2-40B4-BE49-F238E27FC236}">
                <a16:creationId xmlns:a16="http://schemas.microsoft.com/office/drawing/2014/main" xmlns="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106CF77E-9035-4C6B-AFB6-786FB0F42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4575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xmlns="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xmlns="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65584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xmlns="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42509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xmlns="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648376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63275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602259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337951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74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  <a:cs typeface="Arial" charset="0"/>
              </a:rPr>
              <a:pPr defTabSz="77969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9875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756468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253579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xmlns="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436301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817418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xmlns="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xmlns="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044942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xmlns="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990689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xmlns="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xmlns="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xmlns="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xmlns="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xmlns="" id="{21860EE9-1D54-4890-BA25-82EEE1F55E4A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xmlns="" id="{940A7D6B-F4CD-4576-86E4-E1C99C335543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0" name="Рисунок 3">
            <a:extLst>
              <a:ext uri="{FF2B5EF4-FFF2-40B4-BE49-F238E27FC236}">
                <a16:creationId xmlns:a16="http://schemas.microsoft.com/office/drawing/2014/main" xmlns="" id="{2F2F4649-E113-46A2-A922-0AB402B79B7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A6F896AC-7B12-408D-B367-3BC24C6C616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FB8E6E6E-A511-486E-97E5-EFDF6C0A3497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6086534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xmlns="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xmlns="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xmlns="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xmlns="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xmlns="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dirty="0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xmlns="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xmlns="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xmlns="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xmlns="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xmlns="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xmlns="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xmlns="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xmlns="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xmlns="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xmlns="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xmlns="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xmlns="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30" name="Рисунок 3">
            <a:extLst>
              <a:ext uri="{FF2B5EF4-FFF2-40B4-BE49-F238E27FC236}">
                <a16:creationId xmlns:a16="http://schemas.microsoft.com/office/drawing/2014/main" xmlns="" id="{796F7482-ACAC-4331-82B9-4FCDE6CEA818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B05820C6-6480-429C-ADB3-B257A34A332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3D8A3611-8CA8-47F8-B062-EAB6C9F14EE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31" name="Рисунок 10">
            <a:extLst>
              <a:ext uri="{FF2B5EF4-FFF2-40B4-BE49-F238E27FC236}">
                <a16:creationId xmlns:a16="http://schemas.microsoft.com/office/drawing/2014/main" xmlns="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163407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xmlns="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xmlns="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xmlns="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xmlns="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xmlns="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tx2">
                  <a:alpha val="0"/>
                </a:schemeClr>
              </a:gs>
              <a:gs pos="67200">
                <a:schemeClr val="tx2">
                  <a:alpha val="26000"/>
                </a:schemeClr>
              </a:gs>
              <a:gs pos="100000">
                <a:schemeClr val="tx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xmlns="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xmlns="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xmlns="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Graphic 17">
            <a:extLst>
              <a:ext uri="{FF2B5EF4-FFF2-40B4-BE49-F238E27FC236}">
                <a16:creationId xmlns:a16="http://schemas.microsoft.com/office/drawing/2014/main" xmlns="" id="{59EEFF78-1504-4AE7-B6D5-04ACF1E9B391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xmlns="" id="{5514F9D7-2A08-456F-9B5F-67F89D711017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xmlns="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xmlns="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xmlns="" id="{95E10814-6BCB-4E14-8196-789EF29F61ED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F56024D7-85D0-4DF3-8542-B14975A64756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C7BA2C11-DFF4-4CBE-BE71-F952138F0C2F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864063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круги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2" name="Рисунок 3">
            <a:extLst>
              <a:ext uri="{FF2B5EF4-FFF2-40B4-BE49-F238E27FC236}">
                <a16:creationId xmlns:a16="http://schemas.microsoft.com/office/drawing/2014/main" xmlns="" id="{4BB27A82-7F22-4222-A22D-FA7B60DB0BD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E4317050-CCF5-4410-8430-E8859C5CCC40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7607EDB4-7BF6-4939-9872-037096793901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87702588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88DE9282-0D71-476A-AF62-33B66104EA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20036" y="1089025"/>
            <a:ext cx="5351338" cy="5219700"/>
          </a:xfrm>
          <a:custGeom>
            <a:avLst/>
            <a:gdLst>
              <a:gd name="connsiteX0" fmla="*/ 0 w 4595874"/>
              <a:gd name="connsiteY0" fmla="*/ 0 h 5219700"/>
              <a:gd name="connsiteX1" fmla="*/ 4595874 w 4595874"/>
              <a:gd name="connsiteY1" fmla="*/ 0 h 5219700"/>
              <a:gd name="connsiteX2" fmla="*/ 4595874 w 4595874"/>
              <a:gd name="connsiteY2" fmla="*/ 5219700 h 5219700"/>
              <a:gd name="connsiteX3" fmla="*/ 0 w 4595874"/>
              <a:gd name="connsiteY3" fmla="*/ 5219700 h 521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5874" h="5219700">
                <a:moveTo>
                  <a:pt x="0" y="0"/>
                </a:moveTo>
                <a:lnTo>
                  <a:pt x="4595874" y="0"/>
                </a:lnTo>
                <a:lnTo>
                  <a:pt x="4595874" y="5219700"/>
                </a:lnTo>
                <a:lnTo>
                  <a:pt x="0" y="5219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208878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xmlns="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xmlns="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xmlns="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xmlns="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xmlns="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xmlns="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xmlns="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xmlns="" id="{CFEA4D1A-3F71-4A32-A7A8-BA91FFD16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5F7F1DF6-FF97-47F0-8B08-D9A9E646B9D4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3B31A0BA-E63C-4C68-B9B2-5CE3C54C7953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45040578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xmlns="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xmlns="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xmlns="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xmlns="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xmlns="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xmlns="" id="{59AA230A-D536-48A4-A32C-64AF315C7753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26F4950B-7B67-43CE-A3F3-B0D1BC9D29EE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E0E34D99-3388-4749-929E-06366D402E7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80954DCA-50B7-425B-AD94-499C9D0C5683}"/>
              </a:ext>
            </a:extLst>
          </p:cNvPr>
          <p:cNvGrpSpPr/>
          <p:nvPr userDrawn="1"/>
        </p:nvGrpSpPr>
        <p:grpSpPr>
          <a:xfrm>
            <a:off x="7717485" y="0"/>
            <a:ext cx="4516612" cy="6858000"/>
            <a:chOff x="7717485" y="0"/>
            <a:chExt cx="4516612" cy="6858000"/>
          </a:xfrm>
        </p:grpSpPr>
        <p:sp>
          <p:nvSpPr>
            <p:cNvPr id="41" name="Полилиния: фигура 15">
              <a:extLst>
                <a:ext uri="{FF2B5EF4-FFF2-40B4-BE49-F238E27FC236}">
                  <a16:creationId xmlns:a16="http://schemas.microsoft.com/office/drawing/2014/main" xmlns="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Полилиния: фигура 16">
              <a:extLst>
                <a:ext uri="{FF2B5EF4-FFF2-40B4-BE49-F238E27FC236}">
                  <a16:creationId xmlns:a16="http://schemas.microsoft.com/office/drawing/2014/main" xmlns="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17">
              <a:extLst>
                <a:ext uri="{FF2B5EF4-FFF2-40B4-BE49-F238E27FC236}">
                  <a16:creationId xmlns:a16="http://schemas.microsoft.com/office/drawing/2014/main" xmlns="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Полилиния: фигура 18">
              <a:extLst>
                <a:ext uri="{FF2B5EF4-FFF2-40B4-BE49-F238E27FC236}">
                  <a16:creationId xmlns:a16="http://schemas.microsoft.com/office/drawing/2014/main" xmlns="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олилиния: фигура 19">
              <a:extLst>
                <a:ext uri="{FF2B5EF4-FFF2-40B4-BE49-F238E27FC236}">
                  <a16:creationId xmlns:a16="http://schemas.microsoft.com/office/drawing/2014/main" xmlns="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Полилиния: фигура 20">
              <a:extLst>
                <a:ext uri="{FF2B5EF4-FFF2-40B4-BE49-F238E27FC236}">
                  <a16:creationId xmlns:a16="http://schemas.microsoft.com/office/drawing/2014/main" xmlns="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Полилиния: фигура 21">
              <a:extLst>
                <a:ext uri="{FF2B5EF4-FFF2-40B4-BE49-F238E27FC236}">
                  <a16:creationId xmlns:a16="http://schemas.microsoft.com/office/drawing/2014/main" xmlns="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Полилиния: фигура 22">
              <a:extLst>
                <a:ext uri="{FF2B5EF4-FFF2-40B4-BE49-F238E27FC236}">
                  <a16:creationId xmlns:a16="http://schemas.microsoft.com/office/drawing/2014/main" xmlns="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120620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xmlns="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xmlns="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xmlns="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xmlns="" id="{C3B7CBEA-8AD0-441A-A1D4-0F139AA06B72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xmlns="" id="{0ED128A5-3EB3-44B8-9514-60A5376432F9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xmlns="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xmlns="" id="{5CCA10BD-5912-479E-A915-0FF9BCA44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CDEFE118-F44C-4422-A399-99640F91D272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D0CB7EBD-FFCD-4327-B037-52DB3ED2140E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55060161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995599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571673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xmlns="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6373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67970F0F-9898-478D-AD56-9AC5CB8561B9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xmlns="" id="{1C442878-F4C2-4530-A4A9-D1022633EE6F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xmlns="" id="{1080C500-E1F3-41A1-859D-E9BB186C608F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xmlns="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9969CFF9-EA23-4816-A325-913254C85A5D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xmlns="" id="{EBBD11E5-3800-4C06-8C9D-FA6A9A56A45A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xmlns="" id="{91B0E24D-062D-4366-B715-F55EF2FBDB9D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dirty="0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xmlns="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xmlns="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xmlns="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xmlns="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xmlns="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xmlns="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xmlns="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8" name="Полилиния: фигура 17">
            <a:extLst>
              <a:ext uri="{FF2B5EF4-FFF2-40B4-BE49-F238E27FC236}">
                <a16:creationId xmlns:a16="http://schemas.microsoft.com/office/drawing/2014/main" xmlns="" id="{56E33414-3B4A-42F9-9B3C-DC451B0A6762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B4FC9AAA-6983-40E1-A475-3B67DA42177C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632D4F25-C6AD-432D-AEB6-379EFBD56188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xmlns="" id="{407EC5EB-720E-47A1-B61E-BDFA7C3B75FC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xmlns="" id="{320DD75F-9BF3-476D-9821-1A79F44BECA8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xmlns="" id="{20C824DA-F291-422D-9366-93A6585C320C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dirty="0"/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xmlns="" id="{6E0E70B7-4A38-42E0-AA9A-7098AC8DF199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5D956954-4237-437C-8DC3-280112C09B24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xmlns="" id="{18F566F9-B90C-4C7D-94B8-6016F910CE49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xmlns="" id="{CE9684D8-C8C8-440B-AE23-521514648E15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86F22C39-B163-4D69-8B0B-7C123B02F50B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xmlns="" id="{76AF4B09-CAEC-4319-8D55-A1EACFF9E0B9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xmlns="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49361025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xmlns="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xmlns="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xmlns="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xmlns="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xmlns="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xmlns="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xmlns="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xmlns="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xmlns="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xmlns="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xmlns="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xmlns="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176299093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BFF2F70-EEE1-4E97-8FB6-5F7221F40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xmlns="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03033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5168201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606655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8755004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xmlns="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xmlns="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xmlns="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xmlns="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xmlns="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xmlns="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xmlns="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xmlns="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Slide Number Placeholder 7">
            <a:extLst>
              <a:ext uri="{FF2B5EF4-FFF2-40B4-BE49-F238E27FC236}">
                <a16:creationId xmlns:a16="http://schemas.microsoft.com/office/drawing/2014/main" xmlns="" id="{E0865DC9-48E3-4E85-A2FB-8283BE80B9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xmlns="" id="{7CC3F587-9F30-4C41-8421-8E9EACA2F7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89820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0486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xmlns="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0486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xmlns="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04865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45976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xmlns="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597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xmlns="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5976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xmlns="" id="{B2902128-9BCC-463B-9EC6-D11C8BCFAD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xmlns="" id="{95493472-4877-442E-ACD9-C851529CA6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07060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xmlns="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xmlns="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xmlns="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xmlns="" id="{B98B5B00-C06A-487C-8747-9B39092F3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9BCA3E88-282F-4D10-8D5F-78D89E8EB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86893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59" y="1956787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xmlns="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xmlns="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397762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4663EF5-10C4-49EC-88C8-16AF90F8EC81}"/>
              </a:ext>
            </a:extLst>
          </p:cNvPr>
          <p:cNvSpPr/>
          <p:nvPr userDrawn="1"/>
        </p:nvSpPr>
        <p:spPr>
          <a:xfrm>
            <a:off x="5601505" y="1088740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300F2668-2E4C-4F9B-BCF1-84DE6D299F50}"/>
              </a:ext>
            </a:extLst>
          </p:cNvPr>
          <p:cNvSpPr/>
          <p:nvPr userDrawn="1"/>
        </p:nvSpPr>
        <p:spPr>
          <a:xfrm>
            <a:off x="5601505" y="2416696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5E3DF761-2573-49E8-8067-06735714517B}"/>
              </a:ext>
            </a:extLst>
          </p:cNvPr>
          <p:cNvSpPr/>
          <p:nvPr userDrawn="1"/>
        </p:nvSpPr>
        <p:spPr>
          <a:xfrm>
            <a:off x="5601505" y="3744652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FCBBC2A5-6ADE-4FC4-B775-F0A0B1CA0AEF}"/>
              </a:ext>
            </a:extLst>
          </p:cNvPr>
          <p:cNvSpPr/>
          <p:nvPr userDrawn="1"/>
        </p:nvSpPr>
        <p:spPr>
          <a:xfrm>
            <a:off x="5593493" y="5072608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Рисунок 13">
            <a:extLst>
              <a:ext uri="{FF2B5EF4-FFF2-40B4-BE49-F238E27FC236}">
                <a16:creationId xmlns:a16="http://schemas.microsoft.com/office/drawing/2014/main" xmlns="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7988" y="1088740"/>
            <a:ext cx="3379762" cy="257297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5D3D3A01-8AB9-41F1-893E-30590EE88E8E}"/>
              </a:ext>
            </a:extLst>
          </p:cNvPr>
          <p:cNvGrpSpPr/>
          <p:nvPr userDrawn="1"/>
        </p:nvGrpSpPr>
        <p:grpSpPr>
          <a:xfrm>
            <a:off x="407987" y="3559577"/>
            <a:ext cx="3389729" cy="2690231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xmlns="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dirty="0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dirty="0"/>
            </a:p>
          </p:txBody>
        </p:sp>
      </p:grpSp>
      <p:sp>
        <p:nvSpPr>
          <p:cNvPr id="48" name="Рисунок 13">
            <a:extLst>
              <a:ext uri="{FF2B5EF4-FFF2-40B4-BE49-F238E27FC236}">
                <a16:creationId xmlns:a16="http://schemas.microsoft.com/office/drawing/2014/main" xmlns="" id="{6D4E6D65-E1DC-4D39-A22B-4383C1AD796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20336" y="2416325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xmlns="" id="{7566EF06-F4EE-4A93-B797-4D949201E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20336" y="108874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0" name="Рисунок 13">
            <a:extLst>
              <a:ext uri="{FF2B5EF4-FFF2-40B4-BE49-F238E27FC236}">
                <a16:creationId xmlns:a16="http://schemas.microsoft.com/office/drawing/2014/main" xmlns="" id="{7106A8ED-F888-44BE-A61A-EA9C8336F0A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2324" y="5071496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1" name="Рисунок 13">
            <a:extLst>
              <a:ext uri="{FF2B5EF4-FFF2-40B4-BE49-F238E27FC236}">
                <a16:creationId xmlns:a16="http://schemas.microsoft.com/office/drawing/2014/main" xmlns="" id="{A0E2E3C1-C927-466D-A514-0CF5BDD71A6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0336" y="374391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Slide Number Placeholder 7">
            <a:extLst>
              <a:ext uri="{FF2B5EF4-FFF2-40B4-BE49-F238E27FC236}">
                <a16:creationId xmlns:a16="http://schemas.microsoft.com/office/drawing/2014/main" xmlns="" id="{D575D0C9-6508-40C1-98BA-4B4ADE37A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B9265922-E1C7-42C4-92A8-A04AF38F4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64652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xmlns="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76197" y="1094536"/>
            <a:ext cx="3650976" cy="21184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5D3D3A01-8AB9-41F1-893E-30590EE88E8E}"/>
              </a:ext>
            </a:extLst>
          </p:cNvPr>
          <p:cNvGrpSpPr/>
          <p:nvPr userDrawn="1"/>
        </p:nvGrpSpPr>
        <p:grpSpPr>
          <a:xfrm>
            <a:off x="407987" y="1094537"/>
            <a:ext cx="2669267" cy="2118442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xmlns="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dirty="0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dirty="0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4663EF5-10C4-49EC-88C8-16AF90F8EC81}"/>
              </a:ext>
            </a:extLst>
          </p:cNvPr>
          <p:cNvSpPr/>
          <p:nvPr userDrawn="1"/>
        </p:nvSpPr>
        <p:spPr>
          <a:xfrm>
            <a:off x="40798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0AB26E0-BFEB-4CB9-866C-38ED55F1659D}"/>
              </a:ext>
            </a:extLst>
          </p:cNvPr>
          <p:cNvSpPr/>
          <p:nvPr userDrawn="1"/>
        </p:nvSpPr>
        <p:spPr>
          <a:xfrm>
            <a:off x="330943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89767F2-69AD-4667-BD01-FD679E69D2E5}"/>
              </a:ext>
            </a:extLst>
          </p:cNvPr>
          <p:cNvSpPr/>
          <p:nvPr userDrawn="1"/>
        </p:nvSpPr>
        <p:spPr>
          <a:xfrm>
            <a:off x="621087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3AFB284E-8083-456D-A09D-9AD94EFB6B66}"/>
              </a:ext>
            </a:extLst>
          </p:cNvPr>
          <p:cNvSpPr/>
          <p:nvPr userDrawn="1"/>
        </p:nvSpPr>
        <p:spPr>
          <a:xfrm>
            <a:off x="911232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xmlns="" id="{7566EF06-F4EE-4A93-B797-4D949201E3F2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0798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xmlns="" id="{089C0836-FFC4-4181-9B0B-4CBF759FA12B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3309434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3" name="Рисунок 13">
            <a:extLst>
              <a:ext uri="{FF2B5EF4-FFF2-40B4-BE49-F238E27FC236}">
                <a16:creationId xmlns:a16="http://schemas.microsoft.com/office/drawing/2014/main" xmlns="" id="{7C34B081-7BFA-4FAA-A1B8-26D73B20EB2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1087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Рисунок 13">
            <a:extLst>
              <a:ext uri="{FF2B5EF4-FFF2-40B4-BE49-F238E27FC236}">
                <a16:creationId xmlns:a16="http://schemas.microsoft.com/office/drawing/2014/main" xmlns="" id="{EABCF6EC-FCA7-4E6F-88B2-8F2EA1E9736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12323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xmlns="" id="{13057BA5-882A-4E38-BD39-E7A78D295C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74A28709-B960-483D-A48B-A5375DE004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071084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10C09BF6-5671-4D43-A581-F847DFF8D4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47105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xmlns="" id="{FD647041-7DC6-4AE1-8AF2-866753B73A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00733" y="1089026"/>
            <a:ext cx="1060887" cy="1060888"/>
          </a:xfrm>
          <a:custGeom>
            <a:avLst/>
            <a:gdLst>
              <a:gd name="connsiteX0" fmla="*/ 530443 w 1060887"/>
              <a:gd name="connsiteY0" fmla="*/ 0 h 1060888"/>
              <a:gd name="connsiteX1" fmla="*/ 1060887 w 1060887"/>
              <a:gd name="connsiteY1" fmla="*/ 530444 h 1060888"/>
              <a:gd name="connsiteX2" fmla="*/ 530443 w 1060887"/>
              <a:gd name="connsiteY2" fmla="*/ 1060888 h 1060888"/>
              <a:gd name="connsiteX3" fmla="*/ 10776 w 1060887"/>
              <a:gd name="connsiteY3" fmla="*/ 637347 h 1060888"/>
              <a:gd name="connsiteX4" fmla="*/ 0 w 1060887"/>
              <a:gd name="connsiteY4" fmla="*/ 530454 h 1060888"/>
              <a:gd name="connsiteX5" fmla="*/ 0 w 1060887"/>
              <a:gd name="connsiteY5" fmla="*/ 530434 h 1060888"/>
              <a:gd name="connsiteX6" fmla="*/ 10776 w 1060887"/>
              <a:gd name="connsiteY6" fmla="*/ 423541 h 1060888"/>
              <a:gd name="connsiteX7" fmla="*/ 530443 w 1060887"/>
              <a:gd name="connsiteY7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887" h="1060888">
                <a:moveTo>
                  <a:pt x="530443" y="0"/>
                </a:moveTo>
                <a:cubicBezTo>
                  <a:pt x="823399" y="0"/>
                  <a:pt x="1060887" y="237488"/>
                  <a:pt x="1060887" y="530444"/>
                </a:cubicBezTo>
                <a:cubicBezTo>
                  <a:pt x="1060887" y="823400"/>
                  <a:pt x="823399" y="1060888"/>
                  <a:pt x="530443" y="1060888"/>
                </a:cubicBezTo>
                <a:cubicBezTo>
                  <a:pt x="274107" y="1060888"/>
                  <a:pt x="60238" y="879061"/>
                  <a:pt x="10776" y="637347"/>
                </a:cubicBezTo>
                <a:lnTo>
                  <a:pt x="0" y="530454"/>
                </a:lnTo>
                <a:lnTo>
                  <a:pt x="0" y="530434"/>
                </a:lnTo>
                <a:lnTo>
                  <a:pt x="10776" y="423541"/>
                </a:lnTo>
                <a:cubicBezTo>
                  <a:pt x="60238" y="181827"/>
                  <a:pt x="274107" y="0"/>
                  <a:pt x="53044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xmlns="" id="{49BEBD48-28F8-4D51-BF9F-8D5920D22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54362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8D2DDFC1-EBF1-4825-B5EE-88D59E7F50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1060888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86410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5" name="Рисунок 4" descr="Изображение выглядит как электроника, компьютер, ноутбук, монитор&#10;&#10;Автоматически созданное описание">
            <a:extLst>
              <a:ext uri="{FF2B5EF4-FFF2-40B4-BE49-F238E27FC236}">
                <a16:creationId xmlns:a16="http://schemas.microsoft.com/office/drawing/2014/main" xmlns="" id="{6F8DE449-93F0-4B3E-BF6E-DA70302D31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0242" y="1569061"/>
            <a:ext cx="7375008" cy="4421496"/>
          </a:xfrm>
          <a:prstGeom prst="rect">
            <a:avLst/>
          </a:prstGeom>
        </p:spPr>
      </p:pic>
      <p:sp>
        <p:nvSpPr>
          <p:cNvPr id="6" name="Рисунок 5">
            <a:extLst>
              <a:ext uri="{FF2B5EF4-FFF2-40B4-BE49-F238E27FC236}">
                <a16:creationId xmlns:a16="http://schemas.microsoft.com/office/drawing/2014/main" xmlns="" id="{8CE9FA37-E03F-4EEB-9F99-4C952FF194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4534" y="1896378"/>
            <a:ext cx="5686425" cy="3570971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039357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6A1327C-FCD7-4D54-AF17-EC831750C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t="27968" r="19918" b="5923"/>
          <a:stretch/>
        </p:blipFill>
        <p:spPr>
          <a:xfrm>
            <a:off x="-457201" y="1268423"/>
            <a:ext cx="8360229" cy="5589578"/>
          </a:xfrm>
          <a:prstGeom prst="rect">
            <a:avLst/>
          </a:prstGeom>
        </p:spPr>
      </p:pic>
      <p:sp>
        <p:nvSpPr>
          <p:cNvPr id="11" name="Рисунок 5">
            <a:extLst>
              <a:ext uri="{FF2B5EF4-FFF2-40B4-BE49-F238E27FC236}">
                <a16:creationId xmlns:a16="http://schemas.microsoft.com/office/drawing/2014/main" xmlns="" id="{EAA71A6E-20EF-4BCF-9DFF-2CB8AEA0B5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8800" y="1803401"/>
            <a:ext cx="5137150" cy="3873500"/>
          </a:xfrm>
          <a:prstGeom prst="roundRect">
            <a:avLst>
              <a:gd name="adj" fmla="val 1926"/>
            </a:avLst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52372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>
          <a:xfrm>
            <a:off x="6096000" y="1604211"/>
            <a:ext cx="2774950" cy="2286752"/>
          </a:xfrm>
        </p:spPr>
        <p:txBody>
          <a:bodyPr/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161260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8B99A217-0E5E-4E23-BC94-45403678D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77" y="1001797"/>
            <a:ext cx="3533085" cy="5385644"/>
          </a:xfrm>
          <a:prstGeom prst="rect">
            <a:avLst/>
          </a:prstGeom>
        </p:spPr>
      </p:pic>
      <p:sp>
        <p:nvSpPr>
          <p:cNvPr id="9" name="Рисунок 5">
            <a:extLst>
              <a:ext uri="{FF2B5EF4-FFF2-40B4-BE49-F238E27FC236}">
                <a16:creationId xmlns:a16="http://schemas.microsoft.com/office/drawing/2014/main" xmlns="" id="{C8280DB4-9A69-46AB-8ED2-9C259D39C1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070" y="1703471"/>
            <a:ext cx="2238375" cy="3979863"/>
          </a:xfrm>
          <a:prstGeom prst="rect">
            <a:avLst/>
          </a:pr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14873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:a16="http://schemas.microsoft.com/office/drawing/2014/main" xmlns="" id="{662B84DF-AD08-4683-8671-F7C73DA42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181" y="1133173"/>
            <a:ext cx="3517972" cy="5322692"/>
          </a:xfrm>
          <a:prstGeom prst="rect">
            <a:avLst/>
          </a:prstGeom>
        </p:spPr>
      </p:pic>
      <p:sp>
        <p:nvSpPr>
          <p:cNvPr id="11" name="Рисунок 36">
            <a:extLst>
              <a:ext uri="{FF2B5EF4-FFF2-40B4-BE49-F238E27FC236}">
                <a16:creationId xmlns:a16="http://schemas.microsoft.com/office/drawing/2014/main" xmlns="" id="{3F22F2FE-3EF0-4977-B157-172050412F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056" y="1281085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069510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644290"/>
            <a:ext cx="5569423" cy="5569423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7230235" y="-935"/>
            <a:ext cx="4961765" cy="2892794"/>
            <a:chOff x="7239008" y="999"/>
            <a:chExt cx="4961765" cy="2892794"/>
          </a:xfrm>
        </p:grpSpPr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xmlns="" id="{932D6109-A8A1-43E9-A7AE-AA48C2C31BA5}"/>
                </a:ext>
              </a:extLst>
            </p:cNvPr>
            <p:cNvSpPr/>
            <p:nvPr/>
          </p:nvSpPr>
          <p:spPr>
            <a:xfrm>
              <a:off x="8479204" y="827687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/>
          </p:nvSpPr>
          <p:spPr>
            <a:xfrm>
              <a:off x="10546087" y="414179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6C7BBB59-47A5-4A40-8191-24ABF08A5E82}"/>
                </a:ext>
              </a:extLst>
            </p:cNvPr>
            <p:cNvSpPr/>
            <p:nvPr/>
          </p:nvSpPr>
          <p:spPr>
            <a:xfrm>
              <a:off x="9305891" y="99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2603 h 1778749"/>
                <a:gd name="connsiteX3" fmla="*/ 1186147 w 1778749"/>
                <a:gd name="connsiteY3" fmla="*/ 592603 h 1778749"/>
                <a:gd name="connsiteX4" fmla="*/ 1186147 w 1778749"/>
                <a:gd name="connsiteY4" fmla="*/ 1778750 h 1778749"/>
                <a:gd name="connsiteX5" fmla="*/ 1778750 w 1778749"/>
                <a:gd name="connsiteY5" fmla="*/ 1185676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2603"/>
                  </a:lnTo>
                  <a:lnTo>
                    <a:pt x="1186147" y="592603"/>
                  </a:lnTo>
                  <a:lnTo>
                    <a:pt x="1186147" y="1778750"/>
                  </a:lnTo>
                  <a:lnTo>
                    <a:pt x="1778750" y="11856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xmlns="" id="{75207CCA-B811-4758-B936-6FA3657A6F74}"/>
                </a:ext>
              </a:extLst>
            </p:cNvPr>
            <p:cNvSpPr/>
            <p:nvPr/>
          </p:nvSpPr>
          <p:spPr>
            <a:xfrm>
              <a:off x="7239008" y="41417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 userDrawn="1"/>
          </p:nvSpPr>
          <p:spPr>
            <a:xfrm>
              <a:off x="10960578" y="1653270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rgbClr val="FF0000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22397113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299" y="1371599"/>
            <a:ext cx="4114804" cy="4114802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6892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xmlns="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xmlns="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xmlns="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xmlns="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xmlns="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xmlns="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xmlns="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xmlns="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412418270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круги 2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xmlns="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xmlns="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xmlns="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73422709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9E389DCC-8568-4D78-BB75-82983A32AC59}"/>
              </a:ext>
            </a:extLst>
          </p:cNvPr>
          <p:cNvGrpSpPr/>
          <p:nvPr userDrawn="1"/>
        </p:nvGrpSpPr>
        <p:grpSpPr>
          <a:xfrm>
            <a:off x="-13671" y="0"/>
            <a:ext cx="12205671" cy="6858001"/>
            <a:chOff x="-13671" y="0"/>
            <a:chExt cx="12205671" cy="6858001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B85A1A7C-F74A-452F-8FEA-3F27AD259ADC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8BC987C9-F278-4C15-8EFD-F301898FF0DE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93E47FB9-3068-4AF7-952A-7F4499AD883E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xmlns="" id="{8D229612-0641-4976-9F58-EB1D7BC466BD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D8A8FD79-0011-4324-935E-FC2066224F52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ADC61937-7F9C-4CB3-81AC-301803254390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FBC656CA-9B99-4772-90C6-CD92B491B611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32216AA9-87BB-4506-902D-19956F21F168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23" name="Текст 39">
            <a:extLst>
              <a:ext uri="{FF2B5EF4-FFF2-40B4-BE49-F238E27FC236}">
                <a16:creationId xmlns:a16="http://schemas.microsoft.com/office/drawing/2014/main" xmlns="" id="{A7FA4B40-C0B0-471E-9072-2FD3537303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4001405"/>
            <a:ext cx="6894454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4" name="Рисунок 3">
            <a:extLst>
              <a:ext uri="{FF2B5EF4-FFF2-40B4-BE49-F238E27FC236}">
                <a16:creationId xmlns:a16="http://schemas.microsoft.com/office/drawing/2014/main" xmlns="" id="{74933002-3000-40D8-81B7-1FDD30C961DD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xmlns="" id="{A8641FEC-D1E4-461A-9A09-1ACD28B60C9D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ABD9B356-E160-484B-8045-6B21E5E89B6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0138639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xmlns="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xmlns="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xmlns="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xmlns="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1785478"/>
            <a:ext cx="6176427" cy="292388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223637828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ент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1AF5ADA-9F79-49F0-A830-9B5AD5F64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06107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420529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xmlns="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xmlns="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xmlns="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xmlns="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73634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991222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2378296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089024"/>
            <a:ext cx="6588114" cy="521970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xmlns="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6698699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2B587269-F1BD-47D4-AA9E-1B46FFE1542F}"/>
              </a:ext>
            </a:extLst>
          </p:cNvPr>
          <p:cNvGrpSpPr/>
          <p:nvPr userDrawn="1"/>
        </p:nvGrpSpPr>
        <p:grpSpPr>
          <a:xfrm>
            <a:off x="-13671" y="0"/>
            <a:ext cx="12205671" cy="6858001"/>
            <a:chOff x="-13671" y="0"/>
            <a:chExt cx="12205671" cy="6858001"/>
          </a:xfrm>
        </p:grpSpPr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EA969EBF-432C-4515-8C14-8EEA0B09C7A5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97C089B9-17D1-4CF1-A112-9CED47AC82A3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0492A479-D7D5-4FFD-83AE-3B2D8F22EA5C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xmlns="" id="{25CF3C71-58D1-458D-B847-C4D35DC3E4A7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E2D677B2-4C72-4DF7-8894-7BBC6A1EE9E1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BFD76563-2092-4A48-A158-A23B9032F005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ED36502E-D170-4C86-847C-D622CA863D2B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37487D10-BEBE-4419-BF19-9232C592D269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33" name="Текст 3">
            <a:extLst>
              <a:ext uri="{FF2B5EF4-FFF2-40B4-BE49-F238E27FC236}">
                <a16:creationId xmlns:a16="http://schemas.microsoft.com/office/drawing/2014/main" xmlns="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106CF77E-9035-4C6B-AFB6-786FB0F42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188582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0DFAEB1-2ED2-439A-8852-3B5C198096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913275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297309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xmlns="" id="{88DE9282-0D71-476A-AF62-33B66104EA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20036" y="1089025"/>
            <a:ext cx="5351338" cy="5219700"/>
          </a:xfrm>
          <a:custGeom>
            <a:avLst/>
            <a:gdLst>
              <a:gd name="connsiteX0" fmla="*/ 0 w 4595874"/>
              <a:gd name="connsiteY0" fmla="*/ 0 h 5219700"/>
              <a:gd name="connsiteX1" fmla="*/ 4595874 w 4595874"/>
              <a:gd name="connsiteY1" fmla="*/ 0 h 5219700"/>
              <a:gd name="connsiteX2" fmla="*/ 4595874 w 4595874"/>
              <a:gd name="connsiteY2" fmla="*/ 5219700 h 5219700"/>
              <a:gd name="connsiteX3" fmla="*/ 0 w 4595874"/>
              <a:gd name="connsiteY3" fmla="*/ 5219700 h 521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5874" h="5219700">
                <a:moveTo>
                  <a:pt x="0" y="0"/>
                </a:moveTo>
                <a:lnTo>
                  <a:pt x="4595874" y="0"/>
                </a:lnTo>
                <a:lnTo>
                  <a:pt x="4595874" y="5219700"/>
                </a:lnTo>
                <a:lnTo>
                  <a:pt x="0" y="5219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993353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xmlns="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xmlns="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xmlns="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xmlns="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xmlns="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80666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xmlns="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xmlns="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xmlns="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xmlns="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xmlns="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dirty="0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xmlns="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xmlns="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xmlns="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xmlns="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xmlns="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xmlns="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xmlns="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xmlns="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xmlns="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xmlns="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xmlns="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xmlns="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30" name="Рисунок 3">
            <a:extLst>
              <a:ext uri="{FF2B5EF4-FFF2-40B4-BE49-F238E27FC236}">
                <a16:creationId xmlns:a16="http://schemas.microsoft.com/office/drawing/2014/main" xmlns="" id="{796F7482-ACAC-4331-82B9-4FCDE6CEA818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B05820C6-6480-429C-ADB3-B257A34A332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3D8A3611-8CA8-47F8-B062-EAB6C9F14EE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31" name="Рисунок 10">
            <a:extLst>
              <a:ext uri="{FF2B5EF4-FFF2-40B4-BE49-F238E27FC236}">
                <a16:creationId xmlns:a16="http://schemas.microsoft.com/office/drawing/2014/main" xmlns="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78047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94223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9085AE4E-EB34-48C8-AEB3-FB178CC5D652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xmlns="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25187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xmlns="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565576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517965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xmlns="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xmlns="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xmlns="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xmlns="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43178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xmlns="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9085AE4E-EB34-48C8-AEB3-FB178CC5D652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xmlns="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34287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3262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>
          <a:xfrm>
            <a:off x="6096000" y="1604211"/>
            <a:ext cx="2774950" cy="2286752"/>
          </a:xfrm>
        </p:spPr>
        <p:txBody>
          <a:bodyPr/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991424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134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1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407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86799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3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5504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34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5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2407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7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86799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8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55504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815756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536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406141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6289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938" y="126645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25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0614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62895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1367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536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614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6289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xmlns="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67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027175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541064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254960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863078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xmlns="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xmlns="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54388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xmlns="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xmlns="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60898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xmlns="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54956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34897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xmlns="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xmlns="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656750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01221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096618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xmlns="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xmlns="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409420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xmlns="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21202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xmlns="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9419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>
          <a:xfrm>
            <a:off x="6096000" y="1604211"/>
            <a:ext cx="2774950" cy="228675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429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xmlns="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xmlns="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xmlns="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754986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xmlns="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599904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xmlns="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xmlns="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xmlns="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xmlns="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xmlns="" id="{21860EE9-1D54-4890-BA25-82EEE1F55E4A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xmlns="" id="{940A7D6B-F4CD-4576-86E4-E1C99C335543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0" name="Рисунок 3">
            <a:extLst>
              <a:ext uri="{FF2B5EF4-FFF2-40B4-BE49-F238E27FC236}">
                <a16:creationId xmlns:a16="http://schemas.microsoft.com/office/drawing/2014/main" xmlns="" id="{2F2F4649-E113-46A2-A922-0AB402B79B7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A6F896AC-7B12-408D-B367-3BC24C6C616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FB8E6E6E-A511-486E-97E5-EFDF6C0A3497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338309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xmlns="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xmlns="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xmlns="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xmlns="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xmlns="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xmlns="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xmlns="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xmlns="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xmlns="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xmlns="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xmlns="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xmlns="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xmlns="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xmlns="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xmlns="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xmlns="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xmlns="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" name="Рисунок 3">
            <a:extLst>
              <a:ext uri="{FF2B5EF4-FFF2-40B4-BE49-F238E27FC236}">
                <a16:creationId xmlns:a16="http://schemas.microsoft.com/office/drawing/2014/main" xmlns="" id="{796F7482-ACAC-4331-82B9-4FCDE6CEA818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B05820C6-6480-429C-ADB3-B257A34A332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3D8A3611-8CA8-47F8-B062-EAB6C9F14EE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1" name="Рисунок 10">
            <a:extLst>
              <a:ext uri="{FF2B5EF4-FFF2-40B4-BE49-F238E27FC236}">
                <a16:creationId xmlns:a16="http://schemas.microsoft.com/office/drawing/2014/main" xmlns="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0261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xmlns="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xmlns="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xmlns="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xmlns="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xmlns="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xmlns="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tx2">
                  <a:alpha val="0"/>
                </a:schemeClr>
              </a:gs>
              <a:gs pos="67200">
                <a:schemeClr val="tx2">
                  <a:alpha val="26000"/>
                </a:schemeClr>
              </a:gs>
              <a:gs pos="100000">
                <a:schemeClr val="tx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xmlns="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xmlns="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xmlns="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xmlns="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xmlns="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Graphic 17">
            <a:extLst>
              <a:ext uri="{FF2B5EF4-FFF2-40B4-BE49-F238E27FC236}">
                <a16:creationId xmlns:a16="http://schemas.microsoft.com/office/drawing/2014/main" xmlns="" id="{59EEFF78-1504-4AE7-B6D5-04ACF1E9B391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xmlns="" id="{5514F9D7-2A08-456F-9B5F-67F89D711017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xmlns="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xmlns="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xmlns="" id="{95E10814-6BCB-4E14-8196-789EF29F61ED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F56024D7-85D0-4DF3-8542-B14975A64756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C7BA2C11-DFF4-4CBE-BE71-F952138F0C2F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3837873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круги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2" name="Рисунок 3">
            <a:extLst>
              <a:ext uri="{FF2B5EF4-FFF2-40B4-BE49-F238E27FC236}">
                <a16:creationId xmlns:a16="http://schemas.microsoft.com/office/drawing/2014/main" xmlns="" id="{4BB27A82-7F22-4222-A22D-FA7B60DB0BD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E4317050-CCF5-4410-8430-E8859C5CCC40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7607EDB4-7BF6-4939-9872-037096793901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882889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xmlns="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xmlns="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xmlns="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xmlns="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xmlns="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xmlns="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xmlns="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xmlns="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xmlns="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xmlns="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xmlns="" id="{CFEA4D1A-3F71-4A32-A7A8-BA91FFD16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5F7F1DF6-FF97-47F0-8B08-D9A9E646B9D4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3B31A0BA-E63C-4C68-B9B2-5CE3C54C7953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0532616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xmlns="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xmlns="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xmlns="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xmlns="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xmlns="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xmlns="" id="{59AA230A-D536-48A4-A32C-64AF315C7753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26F4950B-7B67-43CE-A3F3-B0D1BC9D29EE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E0E34D99-3388-4749-929E-06366D402E7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80954DCA-50B7-425B-AD94-499C9D0C5683}"/>
              </a:ext>
            </a:extLst>
          </p:cNvPr>
          <p:cNvGrpSpPr/>
          <p:nvPr userDrawn="1"/>
        </p:nvGrpSpPr>
        <p:grpSpPr>
          <a:xfrm>
            <a:off x="7717485" y="0"/>
            <a:ext cx="4516612" cy="6858000"/>
            <a:chOff x="7717485" y="0"/>
            <a:chExt cx="4516612" cy="6858000"/>
          </a:xfrm>
        </p:grpSpPr>
        <p:sp>
          <p:nvSpPr>
            <p:cNvPr id="41" name="Полилиния: фигура 15">
              <a:extLst>
                <a:ext uri="{FF2B5EF4-FFF2-40B4-BE49-F238E27FC236}">
                  <a16:creationId xmlns:a16="http://schemas.microsoft.com/office/drawing/2014/main" xmlns="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Полилиния: фигура 16">
              <a:extLst>
                <a:ext uri="{FF2B5EF4-FFF2-40B4-BE49-F238E27FC236}">
                  <a16:creationId xmlns:a16="http://schemas.microsoft.com/office/drawing/2014/main" xmlns="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17">
              <a:extLst>
                <a:ext uri="{FF2B5EF4-FFF2-40B4-BE49-F238E27FC236}">
                  <a16:creationId xmlns:a16="http://schemas.microsoft.com/office/drawing/2014/main" xmlns="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Полилиния: фигура 18">
              <a:extLst>
                <a:ext uri="{FF2B5EF4-FFF2-40B4-BE49-F238E27FC236}">
                  <a16:creationId xmlns:a16="http://schemas.microsoft.com/office/drawing/2014/main" xmlns="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олилиния: фигура 19">
              <a:extLst>
                <a:ext uri="{FF2B5EF4-FFF2-40B4-BE49-F238E27FC236}">
                  <a16:creationId xmlns:a16="http://schemas.microsoft.com/office/drawing/2014/main" xmlns="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Полилиния: фигура 20">
              <a:extLst>
                <a:ext uri="{FF2B5EF4-FFF2-40B4-BE49-F238E27FC236}">
                  <a16:creationId xmlns:a16="http://schemas.microsoft.com/office/drawing/2014/main" xmlns="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Полилиния: фигура 21">
              <a:extLst>
                <a:ext uri="{FF2B5EF4-FFF2-40B4-BE49-F238E27FC236}">
                  <a16:creationId xmlns:a16="http://schemas.microsoft.com/office/drawing/2014/main" xmlns="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Полилиния: фигура 22">
              <a:extLst>
                <a:ext uri="{FF2B5EF4-FFF2-40B4-BE49-F238E27FC236}">
                  <a16:creationId xmlns:a16="http://schemas.microsoft.com/office/drawing/2014/main" xmlns="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446909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xmlns="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xmlns="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xmlns="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xmlns="" id="{C3B7CBEA-8AD0-441A-A1D4-0F139AA06B72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xmlns="" id="{0ED128A5-3EB3-44B8-9514-60A5376432F9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xmlns="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xmlns="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xmlns="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xmlns="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xmlns="" id="{5CCA10BD-5912-479E-A915-0FF9BCA44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CDEFE118-F44C-4422-A399-99640F91D272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D0CB7EBD-FFCD-4327-B037-52DB3ED2140E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8743583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81521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21" Type="http://schemas.openxmlformats.org/officeDocument/2006/relationships/image" Target="../media/image3.jpe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image" Target="../media/image1.emf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63" Type="http://schemas.openxmlformats.org/officeDocument/2006/relationships/image" Target="../media/image10.svg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61" Type="http://schemas.openxmlformats.org/officeDocument/2006/relationships/theme" Target="../theme/theme3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10.sv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21.xml"/><Relationship Id="rId55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41" Type="http://schemas.openxmlformats.org/officeDocument/2006/relationships/slideLayout" Target="../slideLayouts/slideLayout112.xml"/><Relationship Id="rId54" Type="http://schemas.openxmlformats.org/officeDocument/2006/relationships/slideLayout" Target="../slideLayouts/slideLayout125.xml"/><Relationship Id="rId62" Type="http://schemas.openxmlformats.org/officeDocument/2006/relationships/image" Target="../media/image10.sv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slideLayout" Target="../slideLayouts/slideLayout128.xml"/><Relationship Id="rId61" Type="http://schemas.openxmlformats.org/officeDocument/2006/relationships/image" Target="../media/image9.png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Relationship Id="rId60" Type="http://schemas.openxmlformats.org/officeDocument/2006/relationships/theme" Target="../theme/theme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slideLayout" Target="../slideLayouts/slideLayout127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4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5" name="Picture 27" descr="Present_kursiv3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95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95492" y="37267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75469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163056" y="1981764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cs typeface="Arial" charset="0"/>
              </a:rPr>
              <a:t>Last Modified 09.07.2013 9:44 Russian Standard Time</a:t>
            </a:r>
            <a:endParaRPr lang="ru-RU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272504" y="4199850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cs typeface="Arial" charset="0"/>
              </a:rPr>
              <a:t>Printed 09.07.2013 8:46 Russian Standard Time</a:t>
            </a:r>
            <a:endParaRPr lang="ru-RU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6213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98667" y="460161"/>
            <a:ext cx="1172548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96542" y="2752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98667" y="868542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22453" y="6396373"/>
            <a:ext cx="9265488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Arial" charset="0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22421" y="6627996"/>
            <a:ext cx="933676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528004" indent="-528004" defTabSz="775469" fontAlgn="base">
              <a:spcBef>
                <a:spcPct val="0"/>
              </a:spcBef>
              <a:spcAft>
                <a:spcPct val="0"/>
              </a:spcAft>
              <a:tabLst>
                <a:tab pos="530755" algn="l"/>
              </a:tabLst>
            </a:pPr>
            <a:r>
              <a:rPr lang="ru-RU" sz="1000" dirty="0">
                <a:solidFill>
                  <a:srgbClr val="000000"/>
                </a:solidFill>
                <a:cs typeface="Arial" charset="0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976227" y="1147483"/>
            <a:ext cx="5801189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7969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i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77969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pic>
        <p:nvPicPr>
          <p:cNvPr id="22" name="Picture 2" descr="Russian_Steel_Rus_CMYK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screen">
            <a:lum brigh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3" y="6142073"/>
            <a:ext cx="2155468" cy="71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11626174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77969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808080"/>
                </a:solidFill>
                <a:cs typeface="Arial" charset="0"/>
              </a:rPr>
              <a:pPr defTabSz="77969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0808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684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</p:sldLayoutIdLst>
  <p:hf hdr="0" ftr="0" dt="0"/>
  <p:txStyles>
    <p:titleStyle>
      <a:lvl1pPr algn="l" defTabSz="775469" rtl="0" eaLnBrk="1" fontAlgn="base" hangingPunct="1">
        <a:spcBef>
          <a:spcPct val="0"/>
        </a:spcBef>
        <a:spcAft>
          <a:spcPct val="0"/>
        </a:spcAft>
        <a:tabLst>
          <a:tab pos="309365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395921"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791973"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187985"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583982" algn="l" defTabSz="77546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7546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67764" indent="-166397" algn="l" defTabSz="775469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395921" indent="-226888" algn="l" defTabSz="775469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532137" indent="-134747" algn="l" defTabSz="775469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649423" indent="-112769" algn="l" defTabSz="775469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649423" indent="-112769" algn="l" defTabSz="7754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649423" indent="-112769" algn="l" defTabSz="7754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649423" indent="-112769" algn="l" defTabSz="7754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649423" indent="-112769" algn="l" defTabSz="7754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5921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91973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7985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83982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979969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75971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771925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167937" algn="l" defTabSz="7919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xmlns="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xmlns="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xmlns="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67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8" r:id="rId2"/>
    <p:sldLayoutId id="2147483820" r:id="rId3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xmlns="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xmlns="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/>
                </a:solidFill>
              </a:rPr>
            </a:br>
            <a:r>
              <a:rPr lang="ru-RU" sz="500" dirty="0">
                <a:solidFill>
                  <a:schemeClr val="tx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xmlns="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62" cstate="print">
            <a:extLst>
              <a:ext uri="{96DAC541-7B7A-43D3-8B79-37D633B846F1}">
                <asvg:svgBlip xmlns:asvg="http://schemas.microsoft.com/office/drawing/2016/SVG/main" xmlns="" r:embed="rId6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9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  <p:sldLayoutId id="2147483914" r:id="rId23"/>
    <p:sldLayoutId id="2147483915" r:id="rId24"/>
    <p:sldLayoutId id="2147483916" r:id="rId25"/>
    <p:sldLayoutId id="2147483917" r:id="rId26"/>
    <p:sldLayoutId id="2147483918" r:id="rId27"/>
    <p:sldLayoutId id="2147483919" r:id="rId28"/>
    <p:sldLayoutId id="2147483920" r:id="rId29"/>
    <p:sldLayoutId id="2147483921" r:id="rId30"/>
    <p:sldLayoutId id="2147483922" r:id="rId31"/>
    <p:sldLayoutId id="2147483923" r:id="rId32"/>
    <p:sldLayoutId id="2147483924" r:id="rId33"/>
    <p:sldLayoutId id="2147483925" r:id="rId34"/>
    <p:sldLayoutId id="2147483926" r:id="rId35"/>
    <p:sldLayoutId id="2147483927" r:id="rId36"/>
    <p:sldLayoutId id="2147483928" r:id="rId37"/>
    <p:sldLayoutId id="2147483929" r:id="rId38"/>
    <p:sldLayoutId id="2147483930" r:id="rId39"/>
    <p:sldLayoutId id="2147483931" r:id="rId40"/>
    <p:sldLayoutId id="2147483932" r:id="rId41"/>
    <p:sldLayoutId id="2147483933" r:id="rId42"/>
    <p:sldLayoutId id="2147483934" r:id="rId43"/>
    <p:sldLayoutId id="2147483935" r:id="rId44"/>
    <p:sldLayoutId id="2147483936" r:id="rId45"/>
    <p:sldLayoutId id="2147483937" r:id="rId46"/>
    <p:sldLayoutId id="2147483938" r:id="rId47"/>
    <p:sldLayoutId id="2147483939" r:id="rId48"/>
    <p:sldLayoutId id="2147483940" r:id="rId49"/>
    <p:sldLayoutId id="2147483941" r:id="rId50"/>
    <p:sldLayoutId id="2147483942" r:id="rId51"/>
    <p:sldLayoutId id="2147483943" r:id="rId52"/>
    <p:sldLayoutId id="2147483944" r:id="rId53"/>
    <p:sldLayoutId id="2147483945" r:id="rId54"/>
    <p:sldLayoutId id="2147483946" r:id="rId55"/>
    <p:sldLayoutId id="2147483947" r:id="rId56"/>
    <p:sldLayoutId id="2147483948" r:id="rId57"/>
    <p:sldLayoutId id="2147483949" r:id="rId58"/>
    <p:sldLayoutId id="2147483950" r:id="rId59"/>
    <p:sldLayoutId id="2147483951" r:id="rId60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/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/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/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/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/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xmlns="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xmlns="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xmlns="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55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xmlns="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xmlns="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/>
                </a:solidFill>
              </a:rPr>
            </a:br>
            <a:r>
              <a:rPr lang="ru-RU" sz="500" dirty="0">
                <a:solidFill>
                  <a:schemeClr val="tx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xmlns="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61" cstate="print">
            <a:extLst>
              <a:ext uri="{96DAC541-7B7A-43D3-8B79-37D633B846F1}">
                <asvg:svgBlip xmlns:asvg="http://schemas.microsoft.com/office/drawing/2016/SVG/main" xmlns="" r:embed="rId62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942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16" r:id="rId57"/>
    <p:sldLayoutId id="2147484017" r:id="rId58"/>
    <p:sldLayoutId id="2147484018" r:id="rId59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/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/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/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/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/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74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216680" cy="6858000"/>
          </a:xfrm>
        </p:spPr>
      </p:pic>
      <p:grpSp>
        <p:nvGrpSpPr>
          <p:cNvPr id="9" name="Группа 8"/>
          <p:cNvGrpSpPr/>
          <p:nvPr/>
        </p:nvGrpSpPr>
        <p:grpSpPr>
          <a:xfrm>
            <a:off x="5654715" y="0"/>
            <a:ext cx="6537285" cy="3811349"/>
            <a:chOff x="7239008" y="999"/>
            <a:chExt cx="4961765" cy="2892794"/>
          </a:xfrm>
        </p:grpSpPr>
        <p:sp>
          <p:nvSpPr>
            <p:cNvPr id="10" name="Полилиния: фигура 29">
              <a:extLst>
                <a:ext uri="{FF2B5EF4-FFF2-40B4-BE49-F238E27FC236}">
                  <a16:creationId xmlns:a16="http://schemas.microsoft.com/office/drawing/2014/main" xmlns="" id="{932D6109-A8A1-43E9-A7AE-AA48C2C31BA5}"/>
                </a:ext>
              </a:extLst>
            </p:cNvPr>
            <p:cNvSpPr/>
            <p:nvPr/>
          </p:nvSpPr>
          <p:spPr>
            <a:xfrm>
              <a:off x="8479204" y="827687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bg1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/>
          </p:nvSpPr>
          <p:spPr>
            <a:xfrm>
              <a:off x="10546087" y="414179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bg1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31">
              <a:extLst>
                <a:ext uri="{FF2B5EF4-FFF2-40B4-BE49-F238E27FC236}">
                  <a16:creationId xmlns:a16="http://schemas.microsoft.com/office/drawing/2014/main" xmlns="" id="{6C7BBB59-47A5-4A40-8191-24ABF08A5E82}"/>
                </a:ext>
              </a:extLst>
            </p:cNvPr>
            <p:cNvSpPr/>
            <p:nvPr/>
          </p:nvSpPr>
          <p:spPr>
            <a:xfrm>
              <a:off x="9305891" y="99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2603 h 1778749"/>
                <a:gd name="connsiteX3" fmla="*/ 1186147 w 1778749"/>
                <a:gd name="connsiteY3" fmla="*/ 592603 h 1778749"/>
                <a:gd name="connsiteX4" fmla="*/ 1186147 w 1778749"/>
                <a:gd name="connsiteY4" fmla="*/ 1778750 h 1778749"/>
                <a:gd name="connsiteX5" fmla="*/ 1778750 w 1778749"/>
                <a:gd name="connsiteY5" fmla="*/ 1185676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2603"/>
                  </a:lnTo>
                  <a:lnTo>
                    <a:pt x="1186147" y="592603"/>
                  </a:lnTo>
                  <a:lnTo>
                    <a:pt x="1186147" y="1778750"/>
                  </a:lnTo>
                  <a:lnTo>
                    <a:pt x="1778750" y="11856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37">
              <a:extLst>
                <a:ext uri="{FF2B5EF4-FFF2-40B4-BE49-F238E27FC236}">
                  <a16:creationId xmlns:a16="http://schemas.microsoft.com/office/drawing/2014/main" xmlns="" id="{75207CCA-B811-4758-B936-6FA3657A6F74}"/>
                </a:ext>
              </a:extLst>
            </p:cNvPr>
            <p:cNvSpPr/>
            <p:nvPr/>
          </p:nvSpPr>
          <p:spPr>
            <a:xfrm>
              <a:off x="7239008" y="41417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Полилиния: фигура 30">
              <a:extLst>
                <a:ext uri="{FF2B5EF4-FFF2-40B4-BE49-F238E27FC236}">
                  <a16:creationId xmlns:a16="http://schemas.microsoft.com/office/drawing/2014/main" xmlns="" id="{33EBAFA1-EFC8-495F-BCD6-BE4EB9185DC6}"/>
                </a:ext>
              </a:extLst>
            </p:cNvPr>
            <p:cNvSpPr/>
            <p:nvPr/>
          </p:nvSpPr>
          <p:spPr>
            <a:xfrm>
              <a:off x="10960578" y="1653270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rgbClr val="FF0000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xmlns="" id="{DF9B2219-EA99-460E-8F47-7E78519CD7D3}"/>
              </a:ext>
            </a:extLst>
          </p:cNvPr>
          <p:cNvSpPr/>
          <p:nvPr/>
        </p:nvSpPr>
        <p:spPr>
          <a:xfrm>
            <a:off x="11324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40000"/>
                </a:schemeClr>
              </a:gs>
              <a:gs pos="100000">
                <a:schemeClr val="tx2">
                  <a:alpha val="36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589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Рисунок 3">
            <a:extLst>
              <a:ext uri="{FF2B5EF4-FFF2-40B4-BE49-F238E27FC236}">
                <a16:creationId xmlns:a16="http://schemas.microsoft.com/office/drawing/2014/main" xmlns="" id="{B269616B-3820-4FD1-AC6A-CD6A7D7A7328}"/>
              </a:ext>
            </a:extLst>
          </p:cNvPr>
          <p:cNvGrpSpPr/>
          <p:nvPr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ED7B7AB4-3D5F-42F0-9429-1C9FE995B2F4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xmlns="" id="{8A588F12-0AC3-418F-9D40-3C6B8D8EB83B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Rectangle 5">
            <a:extLst>
              <a:ext uri="{FF2B5EF4-FFF2-40B4-BE49-F238E27FC236}">
                <a16:creationId xmlns:a16="http://schemas.microsoft.com/office/drawing/2014/main" xmlns="" id="{261AECBA-67AE-4A20-9667-16AB34E8B3F6}"/>
              </a:ext>
            </a:extLst>
          </p:cNvPr>
          <p:cNvSpPr/>
          <p:nvPr/>
        </p:nvSpPr>
        <p:spPr>
          <a:xfrm>
            <a:off x="403201" y="2466293"/>
            <a:ext cx="8172628" cy="2295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413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413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езопасная эксплуатация </a:t>
            </a:r>
          </a:p>
          <a:p>
            <a:pPr marL="8413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даний и сооружений</a:t>
            </a:r>
          </a:p>
          <a:p>
            <a:pPr marL="8413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xmlns="" id="{AA5CA916-21D2-C242-BB00-4CC260CD5311}"/>
              </a:ext>
            </a:extLst>
          </p:cNvPr>
          <p:cNvSpPr/>
          <p:nvPr/>
        </p:nvSpPr>
        <p:spPr>
          <a:xfrm>
            <a:off x="850709" y="4817085"/>
            <a:ext cx="3645899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68575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Русанов Сергей Владимирович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Rectangle 8">
            <a:extLst>
              <a:ext uri="{FF2B5EF4-FFF2-40B4-BE49-F238E27FC236}">
                <a16:creationId xmlns:a16="http://schemas.microsoft.com/office/drawing/2014/main" xmlns="" id="{C36A8417-A671-F740-80D8-01FA54D542D1}"/>
              </a:ext>
            </a:extLst>
          </p:cNvPr>
          <p:cNvSpPr/>
          <p:nvPr/>
        </p:nvSpPr>
        <p:spPr>
          <a:xfrm>
            <a:off x="855812" y="5782082"/>
            <a:ext cx="487080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68575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7.05.2026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AC751F96-896A-5C45-9A4C-B8F6288D0BD9}"/>
              </a:ext>
            </a:extLst>
          </p:cNvPr>
          <p:cNvSpPr txBox="1"/>
          <p:nvPr/>
        </p:nvSpPr>
        <p:spPr>
          <a:xfrm>
            <a:off x="850711" y="5254360"/>
            <a:ext cx="3645897" cy="4431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defTabSz="685800">
              <a:lnSpc>
                <a:spcPct val="95000"/>
              </a:lnSpc>
              <a:spcAft>
                <a:spcPts val="1400"/>
              </a:spcAft>
              <a:defRPr sz="1400">
                <a:solidFill>
                  <a:srgbClr val="005DA3">
                    <a:lumMod val="20000"/>
                    <a:lumOff val="80000"/>
                  </a:srgbClr>
                </a:solidFill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Руководитель по промышленной безопасности </a:t>
            </a:r>
          </a:p>
          <a:p>
            <a:pPr marL="0" marR="0" lvl="0" indent="0" defTabSz="6858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УОТ и ПБ ПАО «Северсталь»</a:t>
            </a:r>
          </a:p>
        </p:txBody>
      </p:sp>
      <p:sp>
        <p:nvSpPr>
          <p:cNvPr id="47" name="Graphic 17">
            <a:extLst>
              <a:ext uri="{FF2B5EF4-FFF2-40B4-BE49-F238E27FC236}">
                <a16:creationId xmlns:a16="http://schemas.microsoft.com/office/drawing/2014/main" xmlns="" id="{2D8DB59B-F8E5-4137-8D12-D1E4122B1E85}"/>
              </a:ext>
            </a:extLst>
          </p:cNvPr>
          <p:cNvSpPr/>
          <p:nvPr/>
        </p:nvSpPr>
        <p:spPr>
          <a:xfrm>
            <a:off x="639857" y="4837617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8" name="Graphic 5">
            <a:extLst>
              <a:ext uri="{FF2B5EF4-FFF2-40B4-BE49-F238E27FC236}">
                <a16:creationId xmlns:a16="http://schemas.microsoft.com/office/drawing/2014/main" xmlns="" id="{686FA807-F95C-4064-BD06-85A6E19A399D}"/>
              </a:ext>
            </a:extLst>
          </p:cNvPr>
          <p:cNvGrpSpPr/>
          <p:nvPr/>
        </p:nvGrpSpPr>
        <p:grpSpPr>
          <a:xfrm>
            <a:off x="636884" y="5800325"/>
            <a:ext cx="192624" cy="192624"/>
            <a:chOff x="615619" y="5787625"/>
            <a:chExt cx="192624" cy="192624"/>
          </a:xfrm>
          <a:solidFill>
            <a:srgbClr val="FFFFFF"/>
          </a:solidFill>
        </p:grpSpPr>
        <p:sp>
          <p:nvSpPr>
            <p:cNvPr id="49" name="Полилиния: фигура 9">
              <a:extLst>
                <a:ext uri="{FF2B5EF4-FFF2-40B4-BE49-F238E27FC236}">
                  <a16:creationId xmlns:a16="http://schemas.microsoft.com/office/drawing/2014/main" xmlns="" id="{231A65FD-48AF-4309-837B-6474E2776D14}"/>
                </a:ext>
              </a:extLst>
            </p:cNvPr>
            <p:cNvSpPr/>
            <p:nvPr/>
          </p:nvSpPr>
          <p:spPr>
            <a:xfrm>
              <a:off x="615619" y="5787625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Полилиния: фигура 10">
              <a:extLst>
                <a:ext uri="{FF2B5EF4-FFF2-40B4-BE49-F238E27FC236}">
                  <a16:creationId xmlns:a16="http://schemas.microsoft.com/office/drawing/2014/main" xmlns="" id="{7E75C31A-D246-41B5-8880-953EA6E8C45A}"/>
                </a:ext>
              </a:extLst>
            </p:cNvPr>
            <p:cNvSpPr/>
            <p:nvPr/>
          </p:nvSpPr>
          <p:spPr>
            <a:xfrm>
              <a:off x="644525" y="5864674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Полилиния: фигура 12">
              <a:extLst>
                <a:ext uri="{FF2B5EF4-FFF2-40B4-BE49-F238E27FC236}">
                  <a16:creationId xmlns:a16="http://schemas.microsoft.com/office/drawing/2014/main" xmlns="" id="{DDC7759E-DB10-43DD-98B5-0F26580A1B72}"/>
                </a:ext>
              </a:extLst>
            </p:cNvPr>
            <p:cNvSpPr/>
            <p:nvPr/>
          </p:nvSpPr>
          <p:spPr>
            <a:xfrm>
              <a:off x="692668" y="5864674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Полилиния: фигура 13">
              <a:extLst>
                <a:ext uri="{FF2B5EF4-FFF2-40B4-BE49-F238E27FC236}">
                  <a16:creationId xmlns:a16="http://schemas.microsoft.com/office/drawing/2014/main" xmlns="" id="{835F4BDE-21BC-44EA-B15D-B3273E769528}"/>
                </a:ext>
              </a:extLst>
            </p:cNvPr>
            <p:cNvSpPr/>
            <p:nvPr/>
          </p:nvSpPr>
          <p:spPr>
            <a:xfrm>
              <a:off x="740811" y="5864674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Полилиния: фигура 14">
              <a:extLst>
                <a:ext uri="{FF2B5EF4-FFF2-40B4-BE49-F238E27FC236}">
                  <a16:creationId xmlns:a16="http://schemas.microsoft.com/office/drawing/2014/main" xmlns="" id="{EBF826A1-EC11-4D4C-B42C-D0EB55329056}"/>
                </a:ext>
              </a:extLst>
            </p:cNvPr>
            <p:cNvSpPr/>
            <p:nvPr/>
          </p:nvSpPr>
          <p:spPr>
            <a:xfrm>
              <a:off x="644525" y="5912817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Полилиния: фигура 15">
              <a:extLst>
                <a:ext uri="{FF2B5EF4-FFF2-40B4-BE49-F238E27FC236}">
                  <a16:creationId xmlns:a16="http://schemas.microsoft.com/office/drawing/2014/main" xmlns="" id="{8ABE7D6A-14FD-41C4-BCFF-51FEDC2FDC1F}"/>
                </a:ext>
              </a:extLst>
            </p:cNvPr>
            <p:cNvSpPr/>
            <p:nvPr/>
          </p:nvSpPr>
          <p:spPr>
            <a:xfrm>
              <a:off x="692668" y="5912817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5" name="Graphic 97">
            <a:extLst>
              <a:ext uri="{FF2B5EF4-FFF2-40B4-BE49-F238E27FC236}">
                <a16:creationId xmlns:a16="http://schemas.microsoft.com/office/drawing/2014/main" xmlns="" id="{0DA72910-3B58-4459-BC0B-EA1F0B2FA125}"/>
              </a:ext>
            </a:extLst>
          </p:cNvPr>
          <p:cNvSpPr/>
          <p:nvPr/>
        </p:nvSpPr>
        <p:spPr>
          <a:xfrm>
            <a:off x="637716" y="5307605"/>
            <a:ext cx="207613" cy="160919"/>
          </a:xfrm>
          <a:custGeom>
            <a:avLst/>
            <a:gdLst>
              <a:gd name="connsiteX0" fmla="*/ 186852 w 207613"/>
              <a:gd name="connsiteY0" fmla="*/ 119396 h 160919"/>
              <a:gd name="connsiteX1" fmla="*/ 186852 w 207613"/>
              <a:gd name="connsiteY1" fmla="*/ 45709 h 160919"/>
              <a:gd name="connsiteX2" fmla="*/ 147483 w 207613"/>
              <a:gd name="connsiteY2" fmla="*/ 15561 h 160919"/>
              <a:gd name="connsiteX3" fmla="*/ 132111 w 207613"/>
              <a:gd name="connsiteY3" fmla="*/ 15561 h 160919"/>
              <a:gd name="connsiteX4" fmla="*/ 132111 w 207613"/>
              <a:gd name="connsiteY4" fmla="*/ 0 h 160919"/>
              <a:gd name="connsiteX5" fmla="*/ 75497 w 207613"/>
              <a:gd name="connsiteY5" fmla="*/ 0 h 160919"/>
              <a:gd name="connsiteX6" fmla="*/ 75497 w 207613"/>
              <a:gd name="connsiteY6" fmla="*/ 15561 h 160919"/>
              <a:gd name="connsiteX7" fmla="*/ 60125 w 207613"/>
              <a:gd name="connsiteY7" fmla="*/ 15561 h 160919"/>
              <a:gd name="connsiteX8" fmla="*/ 20761 w 207613"/>
              <a:gd name="connsiteY8" fmla="*/ 45709 h 160919"/>
              <a:gd name="connsiteX9" fmla="*/ 20761 w 207613"/>
              <a:gd name="connsiteY9" fmla="*/ 108996 h 160919"/>
              <a:gd name="connsiteX10" fmla="*/ 31145 w 207613"/>
              <a:gd name="connsiteY10" fmla="*/ 108996 h 160919"/>
              <a:gd name="connsiteX11" fmla="*/ 31145 w 207613"/>
              <a:gd name="connsiteY11" fmla="*/ 50841 h 160919"/>
              <a:gd name="connsiteX12" fmla="*/ 63647 w 207613"/>
              <a:gd name="connsiteY12" fmla="*/ 25950 h 160919"/>
              <a:gd name="connsiteX13" fmla="*/ 75497 w 207613"/>
              <a:gd name="connsiteY13" fmla="*/ 25950 h 160919"/>
              <a:gd name="connsiteX14" fmla="*/ 75497 w 207613"/>
              <a:gd name="connsiteY14" fmla="*/ 66448 h 160919"/>
              <a:gd name="connsiteX15" fmla="*/ 85880 w 207613"/>
              <a:gd name="connsiteY15" fmla="*/ 66448 h 160919"/>
              <a:gd name="connsiteX16" fmla="*/ 85880 w 207613"/>
              <a:gd name="connsiteY16" fmla="*/ 10384 h 160919"/>
              <a:gd name="connsiteX17" fmla="*/ 121727 w 207613"/>
              <a:gd name="connsiteY17" fmla="*/ 10384 h 160919"/>
              <a:gd name="connsiteX18" fmla="*/ 121727 w 207613"/>
              <a:gd name="connsiteY18" fmla="*/ 66448 h 160919"/>
              <a:gd name="connsiteX19" fmla="*/ 132111 w 207613"/>
              <a:gd name="connsiteY19" fmla="*/ 66448 h 160919"/>
              <a:gd name="connsiteX20" fmla="*/ 132111 w 207613"/>
              <a:gd name="connsiteY20" fmla="*/ 25950 h 160919"/>
              <a:gd name="connsiteX21" fmla="*/ 143966 w 207613"/>
              <a:gd name="connsiteY21" fmla="*/ 25950 h 160919"/>
              <a:gd name="connsiteX22" fmla="*/ 176469 w 207613"/>
              <a:gd name="connsiteY22" fmla="*/ 50841 h 160919"/>
              <a:gd name="connsiteX23" fmla="*/ 176469 w 207613"/>
              <a:gd name="connsiteY23" fmla="*/ 119396 h 160919"/>
              <a:gd name="connsiteX24" fmla="*/ 0 w 207613"/>
              <a:gd name="connsiteY24" fmla="*/ 119396 h 160919"/>
              <a:gd name="connsiteX25" fmla="*/ 0 w 207613"/>
              <a:gd name="connsiteY25" fmla="*/ 160919 h 160919"/>
              <a:gd name="connsiteX26" fmla="*/ 207614 w 207613"/>
              <a:gd name="connsiteY26" fmla="*/ 160919 h 160919"/>
              <a:gd name="connsiteX27" fmla="*/ 207614 w 207613"/>
              <a:gd name="connsiteY27" fmla="*/ 119396 h 160919"/>
              <a:gd name="connsiteX28" fmla="*/ 197230 w 207613"/>
              <a:gd name="connsiteY28" fmla="*/ 150536 h 160919"/>
              <a:gd name="connsiteX29" fmla="*/ 10384 w 207613"/>
              <a:gd name="connsiteY29" fmla="*/ 150536 h 160919"/>
              <a:gd name="connsiteX30" fmla="*/ 10384 w 207613"/>
              <a:gd name="connsiteY30" fmla="*/ 129763 h 160919"/>
              <a:gd name="connsiteX31" fmla="*/ 197230 w 207613"/>
              <a:gd name="connsiteY31" fmla="*/ 129763 h 160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7613" h="160919">
                <a:moveTo>
                  <a:pt x="186852" y="119396"/>
                </a:moveTo>
                <a:lnTo>
                  <a:pt x="186852" y="45709"/>
                </a:lnTo>
                <a:lnTo>
                  <a:pt x="147483" y="15561"/>
                </a:lnTo>
                <a:lnTo>
                  <a:pt x="132111" y="15561"/>
                </a:lnTo>
                <a:lnTo>
                  <a:pt x="132111" y="0"/>
                </a:lnTo>
                <a:lnTo>
                  <a:pt x="75497" y="0"/>
                </a:lnTo>
                <a:lnTo>
                  <a:pt x="75497" y="15561"/>
                </a:lnTo>
                <a:lnTo>
                  <a:pt x="60125" y="15561"/>
                </a:lnTo>
                <a:lnTo>
                  <a:pt x="20761" y="45709"/>
                </a:lnTo>
                <a:lnTo>
                  <a:pt x="20761" y="108996"/>
                </a:lnTo>
                <a:lnTo>
                  <a:pt x="31145" y="108996"/>
                </a:lnTo>
                <a:lnTo>
                  <a:pt x="31145" y="50841"/>
                </a:lnTo>
                <a:lnTo>
                  <a:pt x="63647" y="25950"/>
                </a:lnTo>
                <a:lnTo>
                  <a:pt x="75497" y="25950"/>
                </a:lnTo>
                <a:lnTo>
                  <a:pt x="75497" y="66448"/>
                </a:lnTo>
                <a:lnTo>
                  <a:pt x="85880" y="66448"/>
                </a:lnTo>
                <a:lnTo>
                  <a:pt x="85880" y="10384"/>
                </a:lnTo>
                <a:lnTo>
                  <a:pt x="121727" y="10384"/>
                </a:lnTo>
                <a:lnTo>
                  <a:pt x="121727" y="66448"/>
                </a:lnTo>
                <a:lnTo>
                  <a:pt x="132111" y="66448"/>
                </a:lnTo>
                <a:lnTo>
                  <a:pt x="132111" y="25950"/>
                </a:lnTo>
                <a:lnTo>
                  <a:pt x="143966" y="25950"/>
                </a:lnTo>
                <a:lnTo>
                  <a:pt x="176469" y="50841"/>
                </a:lnTo>
                <a:lnTo>
                  <a:pt x="176469" y="119396"/>
                </a:lnTo>
                <a:lnTo>
                  <a:pt x="0" y="119396"/>
                </a:lnTo>
                <a:lnTo>
                  <a:pt x="0" y="160919"/>
                </a:lnTo>
                <a:lnTo>
                  <a:pt x="207614" y="160919"/>
                </a:lnTo>
                <a:lnTo>
                  <a:pt x="207614" y="119396"/>
                </a:lnTo>
                <a:close/>
                <a:moveTo>
                  <a:pt x="197230" y="150536"/>
                </a:moveTo>
                <a:lnTo>
                  <a:pt x="10384" y="150536"/>
                </a:lnTo>
                <a:lnTo>
                  <a:pt x="10384" y="129763"/>
                </a:lnTo>
                <a:lnTo>
                  <a:pt x="197230" y="129763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823767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Номер слайда 1">
            <a:extLst>
              <a:ext uri="{FF2B5EF4-FFF2-40B4-BE49-F238E27FC236}">
                <a16:creationId xmlns:a16="http://schemas.microsoft.com/office/drawing/2014/main" xmlns="" id="{3D265DF3-082E-7845-9BA7-9AD361A282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29F11A-CAD2-4FD2-9793-0DC6E98D19B3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 dirty="0"/>
              <a:t>Оценка технического состояния и эксплуатация ЗиС. Проблемы и причины</a:t>
            </a:r>
          </a:p>
        </p:txBody>
      </p:sp>
      <p:sp>
        <p:nvSpPr>
          <p:cNvPr id="7" name="Rectangle 3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985240" y="1550926"/>
            <a:ext cx="2064959" cy="712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73462" rIns="73462" bIns="7346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ая квалификация экспертных организаций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504657" y="2992306"/>
            <a:ext cx="65348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изкие требования тендера, демпинг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515380" y="5440578"/>
            <a:ext cx="65348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R="0" lvl="1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сутствие системы оценки экспертных организаций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3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47628" y="1556523"/>
            <a:ext cx="2064959" cy="712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73462" rIns="73462" bIns="7346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ценка объектов не в полном объёме, нарушение сроков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504240" y="4216442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Не предоставление подразделениями полного доступа к объектам ОТС</a:t>
            </a: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504240" y="5044534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Зависимость от производственной программы и графика ремонтов</a:t>
            </a: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504239" y="5836622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R="0" lvl="1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сутствие сквозного контроля качества ОТС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tangle 3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10017" y="1556523"/>
            <a:ext cx="2064959" cy="712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73462" rIns="73462" bIns="7346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ое качество ОТС</a:t>
            </a:r>
          </a:p>
        </p:txBody>
      </p:sp>
      <p:sp>
        <p:nvSpPr>
          <p:cNvPr id="122" name="TextBox 121"/>
          <p:cNvSpPr txBox="1">
            <a:spLocks/>
          </p:cNvSpPr>
          <p:nvPr/>
        </p:nvSpPr>
        <p:spPr>
          <a:xfrm>
            <a:off x="504243" y="2591036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Некачественные ТЗ вследствие низкой квалификации ответственных в подразделениях</a:t>
            </a:r>
          </a:p>
        </p:txBody>
      </p:sp>
      <p:sp>
        <p:nvSpPr>
          <p:cNvPr id="123" name="TextBox 122"/>
          <p:cNvSpPr txBox="1">
            <a:spLocks/>
          </p:cNvSpPr>
          <p:nvPr/>
        </p:nvSpPr>
        <p:spPr>
          <a:xfrm>
            <a:off x="504241" y="3820398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Сокращение объема оценки в целях экономии</a:t>
            </a:r>
          </a:p>
        </p:txBody>
      </p:sp>
      <p:sp>
        <p:nvSpPr>
          <p:cNvPr id="124" name="TextBox 123"/>
          <p:cNvSpPr txBox="1">
            <a:spLocks/>
          </p:cNvSpPr>
          <p:nvPr/>
        </p:nvSpPr>
        <p:spPr>
          <a:xfrm>
            <a:off x="504243" y="3424354"/>
            <a:ext cx="65459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рименение наиболее простых и </a:t>
            </a:r>
            <a:r>
              <a:rPr lang="ru-RU" sz="12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малозатратных</a:t>
            </a: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 методик оценки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29AF5A0-8CD6-A240-9F94-7F3F2F970471}"/>
              </a:ext>
            </a:extLst>
          </p:cNvPr>
          <p:cNvSpPr/>
          <p:nvPr/>
        </p:nvSpPr>
        <p:spPr>
          <a:xfrm>
            <a:off x="950949" y="1025906"/>
            <a:ext cx="5629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С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AutoShape 249">
            <a:extLst>
              <a:ext uri="{FF2B5EF4-FFF2-40B4-BE49-F238E27FC236}">
                <a16:creationId xmlns:a16="http://schemas.microsoft.com/office/drawing/2014/main" xmlns="" id="{D8233981-4ACC-604E-852C-8B5DE1111E2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12124" y="994609"/>
            <a:ext cx="0" cy="5282705"/>
          </a:xfrm>
          <a:prstGeom prst="straightConnector1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Freeform 78"/>
          <p:cNvSpPr>
            <a:spLocks noEditPoints="1"/>
          </p:cNvSpPr>
          <p:nvPr/>
        </p:nvSpPr>
        <p:spPr bwMode="auto">
          <a:xfrm>
            <a:off x="7379414" y="932993"/>
            <a:ext cx="417883" cy="432048"/>
          </a:xfrm>
          <a:custGeom>
            <a:avLst/>
            <a:gdLst/>
            <a:ahLst/>
            <a:cxnLst>
              <a:cxn ang="0">
                <a:pos x="42" y="482"/>
              </a:cxn>
              <a:cxn ang="0">
                <a:pos x="920" y="438"/>
              </a:cxn>
              <a:cxn ang="0">
                <a:pos x="863" y="617"/>
              </a:cxn>
              <a:cxn ang="0">
                <a:pos x="816" y="626"/>
              </a:cxn>
              <a:cxn ang="0">
                <a:pos x="460" y="85"/>
              </a:cxn>
              <a:cxn ang="0">
                <a:pos x="59" y="800"/>
              </a:cxn>
              <a:cxn ang="0">
                <a:pos x="1023" y="1067"/>
              </a:cxn>
              <a:cxn ang="0">
                <a:pos x="986" y="1018"/>
              </a:cxn>
              <a:cxn ang="0">
                <a:pos x="1030" y="965"/>
              </a:cxn>
              <a:cxn ang="0">
                <a:pos x="1044" y="932"/>
              </a:cxn>
              <a:cxn ang="0">
                <a:pos x="1048" y="893"/>
              </a:cxn>
              <a:cxn ang="0">
                <a:pos x="1041" y="847"/>
              </a:cxn>
              <a:cxn ang="0">
                <a:pos x="1022" y="807"/>
              </a:cxn>
              <a:cxn ang="0">
                <a:pos x="991" y="774"/>
              </a:cxn>
              <a:cxn ang="0">
                <a:pos x="954" y="751"/>
              </a:cxn>
              <a:cxn ang="0">
                <a:pos x="909" y="740"/>
              </a:cxn>
              <a:cxn ang="0">
                <a:pos x="863" y="741"/>
              </a:cxn>
              <a:cxn ang="0">
                <a:pos x="820" y="757"/>
              </a:cxn>
              <a:cxn ang="0">
                <a:pos x="783" y="784"/>
              </a:cxn>
              <a:cxn ang="0">
                <a:pos x="757" y="819"/>
              </a:cxn>
              <a:cxn ang="0">
                <a:pos x="742" y="862"/>
              </a:cxn>
              <a:cxn ang="0">
                <a:pos x="739" y="909"/>
              </a:cxn>
              <a:cxn ang="0">
                <a:pos x="751" y="953"/>
              </a:cxn>
              <a:cxn ang="0">
                <a:pos x="774" y="992"/>
              </a:cxn>
              <a:cxn ang="0">
                <a:pos x="806" y="1022"/>
              </a:cxn>
              <a:cxn ang="0">
                <a:pos x="848" y="1042"/>
              </a:cxn>
              <a:cxn ang="0">
                <a:pos x="893" y="1049"/>
              </a:cxn>
              <a:cxn ang="0">
                <a:pos x="966" y="1098"/>
              </a:cxn>
              <a:cxn ang="0">
                <a:pos x="912" y="1109"/>
              </a:cxn>
              <a:cxn ang="0">
                <a:pos x="849" y="1106"/>
              </a:cxn>
              <a:cxn ang="0">
                <a:pos x="790" y="1083"/>
              </a:cxn>
              <a:cxn ang="0">
                <a:pos x="740" y="1047"/>
              </a:cxn>
              <a:cxn ang="0">
                <a:pos x="703" y="996"/>
              </a:cxn>
              <a:cxn ang="0">
                <a:pos x="681" y="937"/>
              </a:cxn>
              <a:cxn ang="0">
                <a:pos x="677" y="871"/>
              </a:cxn>
              <a:cxn ang="0">
                <a:pos x="694" y="810"/>
              </a:cxn>
              <a:cxn ang="0">
                <a:pos x="726" y="756"/>
              </a:cxn>
              <a:cxn ang="0">
                <a:pos x="773" y="715"/>
              </a:cxn>
              <a:cxn ang="0">
                <a:pos x="829" y="686"/>
              </a:cxn>
              <a:cxn ang="0">
                <a:pos x="893" y="677"/>
              </a:cxn>
              <a:cxn ang="0">
                <a:pos x="958" y="686"/>
              </a:cxn>
              <a:cxn ang="0">
                <a:pos x="1014" y="715"/>
              </a:cxn>
              <a:cxn ang="0">
                <a:pos x="1060" y="756"/>
              </a:cxn>
              <a:cxn ang="0">
                <a:pos x="1093" y="810"/>
              </a:cxn>
              <a:cxn ang="0">
                <a:pos x="1109" y="871"/>
              </a:cxn>
              <a:cxn ang="0">
                <a:pos x="1107" y="929"/>
              </a:cxn>
              <a:cxn ang="0">
                <a:pos x="1092" y="979"/>
              </a:cxn>
              <a:cxn ang="0">
                <a:pos x="1066" y="1023"/>
              </a:cxn>
              <a:cxn ang="0">
                <a:pos x="306" y="862"/>
              </a:cxn>
              <a:cxn ang="0">
                <a:pos x="614" y="893"/>
              </a:cxn>
              <a:cxn ang="0">
                <a:pos x="58" y="924"/>
              </a:cxn>
              <a:cxn ang="0">
                <a:pos x="553" y="862"/>
              </a:cxn>
              <a:cxn ang="0">
                <a:pos x="368" y="862"/>
              </a:cxn>
            </a:cxnLst>
            <a:rect l="0" t="0" r="r" b="b"/>
            <a:pathLst>
              <a:path w="1225" h="1224">
                <a:moveTo>
                  <a:pt x="59" y="800"/>
                </a:moveTo>
                <a:lnTo>
                  <a:pt x="59" y="466"/>
                </a:lnTo>
                <a:lnTo>
                  <a:pt x="42" y="482"/>
                </a:lnTo>
                <a:lnTo>
                  <a:pt x="0" y="438"/>
                </a:lnTo>
                <a:lnTo>
                  <a:pt x="460" y="0"/>
                </a:lnTo>
                <a:lnTo>
                  <a:pt x="920" y="438"/>
                </a:lnTo>
                <a:lnTo>
                  <a:pt x="879" y="482"/>
                </a:lnTo>
                <a:lnTo>
                  <a:pt x="863" y="468"/>
                </a:lnTo>
                <a:lnTo>
                  <a:pt x="863" y="617"/>
                </a:lnTo>
                <a:lnTo>
                  <a:pt x="846" y="619"/>
                </a:lnTo>
                <a:lnTo>
                  <a:pt x="830" y="622"/>
                </a:lnTo>
                <a:lnTo>
                  <a:pt x="816" y="626"/>
                </a:lnTo>
                <a:lnTo>
                  <a:pt x="801" y="631"/>
                </a:lnTo>
                <a:lnTo>
                  <a:pt x="801" y="409"/>
                </a:lnTo>
                <a:lnTo>
                  <a:pt x="460" y="85"/>
                </a:lnTo>
                <a:lnTo>
                  <a:pt x="120" y="410"/>
                </a:lnTo>
                <a:lnTo>
                  <a:pt x="120" y="800"/>
                </a:lnTo>
                <a:lnTo>
                  <a:pt x="59" y="800"/>
                </a:lnTo>
                <a:close/>
                <a:moveTo>
                  <a:pt x="1180" y="1224"/>
                </a:moveTo>
                <a:lnTo>
                  <a:pt x="1023" y="1067"/>
                </a:lnTo>
                <a:lnTo>
                  <a:pt x="1023" y="1067"/>
                </a:lnTo>
                <a:lnTo>
                  <a:pt x="978" y="1023"/>
                </a:lnTo>
                <a:lnTo>
                  <a:pt x="982" y="1020"/>
                </a:lnTo>
                <a:lnTo>
                  <a:pt x="986" y="1018"/>
                </a:lnTo>
                <a:lnTo>
                  <a:pt x="1017" y="987"/>
                </a:lnTo>
                <a:lnTo>
                  <a:pt x="1023" y="976"/>
                </a:lnTo>
                <a:lnTo>
                  <a:pt x="1030" y="965"/>
                </a:lnTo>
                <a:lnTo>
                  <a:pt x="1036" y="955"/>
                </a:lnTo>
                <a:lnTo>
                  <a:pt x="1040" y="943"/>
                </a:lnTo>
                <a:lnTo>
                  <a:pt x="1044" y="932"/>
                </a:lnTo>
                <a:lnTo>
                  <a:pt x="1046" y="918"/>
                </a:lnTo>
                <a:lnTo>
                  <a:pt x="1048" y="906"/>
                </a:lnTo>
                <a:lnTo>
                  <a:pt x="1048" y="893"/>
                </a:lnTo>
                <a:lnTo>
                  <a:pt x="1048" y="878"/>
                </a:lnTo>
                <a:lnTo>
                  <a:pt x="1045" y="862"/>
                </a:lnTo>
                <a:lnTo>
                  <a:pt x="1041" y="847"/>
                </a:lnTo>
                <a:lnTo>
                  <a:pt x="1036" y="834"/>
                </a:lnTo>
                <a:lnTo>
                  <a:pt x="1029" y="819"/>
                </a:lnTo>
                <a:lnTo>
                  <a:pt x="1022" y="807"/>
                </a:lnTo>
                <a:lnTo>
                  <a:pt x="1013" y="795"/>
                </a:lnTo>
                <a:lnTo>
                  <a:pt x="1002" y="784"/>
                </a:lnTo>
                <a:lnTo>
                  <a:pt x="991" y="774"/>
                </a:lnTo>
                <a:lnTo>
                  <a:pt x="979" y="765"/>
                </a:lnTo>
                <a:lnTo>
                  <a:pt x="967" y="757"/>
                </a:lnTo>
                <a:lnTo>
                  <a:pt x="954" y="751"/>
                </a:lnTo>
                <a:lnTo>
                  <a:pt x="939" y="745"/>
                </a:lnTo>
                <a:lnTo>
                  <a:pt x="924" y="741"/>
                </a:lnTo>
                <a:lnTo>
                  <a:pt x="909" y="740"/>
                </a:lnTo>
                <a:lnTo>
                  <a:pt x="893" y="739"/>
                </a:lnTo>
                <a:lnTo>
                  <a:pt x="877" y="740"/>
                </a:lnTo>
                <a:lnTo>
                  <a:pt x="863" y="741"/>
                </a:lnTo>
                <a:lnTo>
                  <a:pt x="848" y="745"/>
                </a:lnTo>
                <a:lnTo>
                  <a:pt x="833" y="751"/>
                </a:lnTo>
                <a:lnTo>
                  <a:pt x="820" y="757"/>
                </a:lnTo>
                <a:lnTo>
                  <a:pt x="806" y="765"/>
                </a:lnTo>
                <a:lnTo>
                  <a:pt x="795" y="774"/>
                </a:lnTo>
                <a:lnTo>
                  <a:pt x="783" y="784"/>
                </a:lnTo>
                <a:lnTo>
                  <a:pt x="774" y="795"/>
                </a:lnTo>
                <a:lnTo>
                  <a:pt x="765" y="807"/>
                </a:lnTo>
                <a:lnTo>
                  <a:pt x="757" y="819"/>
                </a:lnTo>
                <a:lnTo>
                  <a:pt x="751" y="834"/>
                </a:lnTo>
                <a:lnTo>
                  <a:pt x="746" y="847"/>
                </a:lnTo>
                <a:lnTo>
                  <a:pt x="742" y="862"/>
                </a:lnTo>
                <a:lnTo>
                  <a:pt x="739" y="878"/>
                </a:lnTo>
                <a:lnTo>
                  <a:pt x="739" y="893"/>
                </a:lnTo>
                <a:lnTo>
                  <a:pt x="739" y="909"/>
                </a:lnTo>
                <a:lnTo>
                  <a:pt x="742" y="925"/>
                </a:lnTo>
                <a:lnTo>
                  <a:pt x="746" y="940"/>
                </a:lnTo>
                <a:lnTo>
                  <a:pt x="751" y="953"/>
                </a:lnTo>
                <a:lnTo>
                  <a:pt x="757" y="967"/>
                </a:lnTo>
                <a:lnTo>
                  <a:pt x="765" y="980"/>
                </a:lnTo>
                <a:lnTo>
                  <a:pt x="774" y="992"/>
                </a:lnTo>
                <a:lnTo>
                  <a:pt x="783" y="1003"/>
                </a:lnTo>
                <a:lnTo>
                  <a:pt x="795" y="1012"/>
                </a:lnTo>
                <a:lnTo>
                  <a:pt x="806" y="1022"/>
                </a:lnTo>
                <a:lnTo>
                  <a:pt x="820" y="1030"/>
                </a:lnTo>
                <a:lnTo>
                  <a:pt x="833" y="1036"/>
                </a:lnTo>
                <a:lnTo>
                  <a:pt x="848" y="1042"/>
                </a:lnTo>
                <a:lnTo>
                  <a:pt x="863" y="1044"/>
                </a:lnTo>
                <a:lnTo>
                  <a:pt x="877" y="1047"/>
                </a:lnTo>
                <a:lnTo>
                  <a:pt x="893" y="1049"/>
                </a:lnTo>
                <a:lnTo>
                  <a:pt x="904" y="1047"/>
                </a:lnTo>
                <a:lnTo>
                  <a:pt x="915" y="1047"/>
                </a:lnTo>
                <a:lnTo>
                  <a:pt x="966" y="1098"/>
                </a:lnTo>
                <a:lnTo>
                  <a:pt x="948" y="1103"/>
                </a:lnTo>
                <a:lnTo>
                  <a:pt x="931" y="1106"/>
                </a:lnTo>
                <a:lnTo>
                  <a:pt x="912" y="1109"/>
                </a:lnTo>
                <a:lnTo>
                  <a:pt x="893" y="1110"/>
                </a:lnTo>
                <a:lnTo>
                  <a:pt x="871" y="1109"/>
                </a:lnTo>
                <a:lnTo>
                  <a:pt x="849" y="1106"/>
                </a:lnTo>
                <a:lnTo>
                  <a:pt x="829" y="1101"/>
                </a:lnTo>
                <a:lnTo>
                  <a:pt x="809" y="1093"/>
                </a:lnTo>
                <a:lnTo>
                  <a:pt x="790" y="1083"/>
                </a:lnTo>
                <a:lnTo>
                  <a:pt x="773" y="1073"/>
                </a:lnTo>
                <a:lnTo>
                  <a:pt x="755" y="1061"/>
                </a:lnTo>
                <a:lnTo>
                  <a:pt x="740" y="1047"/>
                </a:lnTo>
                <a:lnTo>
                  <a:pt x="726" y="1031"/>
                </a:lnTo>
                <a:lnTo>
                  <a:pt x="714" y="1015"/>
                </a:lnTo>
                <a:lnTo>
                  <a:pt x="703" y="996"/>
                </a:lnTo>
                <a:lnTo>
                  <a:pt x="694" y="977"/>
                </a:lnTo>
                <a:lnTo>
                  <a:pt x="687" y="957"/>
                </a:lnTo>
                <a:lnTo>
                  <a:pt x="681" y="937"/>
                </a:lnTo>
                <a:lnTo>
                  <a:pt x="677" y="916"/>
                </a:lnTo>
                <a:lnTo>
                  <a:pt x="676" y="893"/>
                </a:lnTo>
                <a:lnTo>
                  <a:pt x="677" y="871"/>
                </a:lnTo>
                <a:lnTo>
                  <a:pt x="681" y="850"/>
                </a:lnTo>
                <a:lnTo>
                  <a:pt x="687" y="829"/>
                </a:lnTo>
                <a:lnTo>
                  <a:pt x="694" y="810"/>
                </a:lnTo>
                <a:lnTo>
                  <a:pt x="703" y="790"/>
                </a:lnTo>
                <a:lnTo>
                  <a:pt x="714" y="772"/>
                </a:lnTo>
                <a:lnTo>
                  <a:pt x="726" y="756"/>
                </a:lnTo>
                <a:lnTo>
                  <a:pt x="740" y="740"/>
                </a:lnTo>
                <a:lnTo>
                  <a:pt x="755" y="727"/>
                </a:lnTo>
                <a:lnTo>
                  <a:pt x="773" y="715"/>
                </a:lnTo>
                <a:lnTo>
                  <a:pt x="790" y="702"/>
                </a:lnTo>
                <a:lnTo>
                  <a:pt x="809" y="694"/>
                </a:lnTo>
                <a:lnTo>
                  <a:pt x="829" y="686"/>
                </a:lnTo>
                <a:lnTo>
                  <a:pt x="849" y="681"/>
                </a:lnTo>
                <a:lnTo>
                  <a:pt x="871" y="678"/>
                </a:lnTo>
                <a:lnTo>
                  <a:pt x="893" y="677"/>
                </a:lnTo>
                <a:lnTo>
                  <a:pt x="915" y="678"/>
                </a:lnTo>
                <a:lnTo>
                  <a:pt x="936" y="681"/>
                </a:lnTo>
                <a:lnTo>
                  <a:pt x="958" y="686"/>
                </a:lnTo>
                <a:lnTo>
                  <a:pt x="978" y="694"/>
                </a:lnTo>
                <a:lnTo>
                  <a:pt x="997" y="702"/>
                </a:lnTo>
                <a:lnTo>
                  <a:pt x="1014" y="715"/>
                </a:lnTo>
                <a:lnTo>
                  <a:pt x="1031" y="727"/>
                </a:lnTo>
                <a:lnTo>
                  <a:pt x="1046" y="740"/>
                </a:lnTo>
                <a:lnTo>
                  <a:pt x="1060" y="756"/>
                </a:lnTo>
                <a:lnTo>
                  <a:pt x="1073" y="772"/>
                </a:lnTo>
                <a:lnTo>
                  <a:pt x="1084" y="790"/>
                </a:lnTo>
                <a:lnTo>
                  <a:pt x="1093" y="810"/>
                </a:lnTo>
                <a:lnTo>
                  <a:pt x="1100" y="829"/>
                </a:lnTo>
                <a:lnTo>
                  <a:pt x="1105" y="850"/>
                </a:lnTo>
                <a:lnTo>
                  <a:pt x="1109" y="871"/>
                </a:lnTo>
                <a:lnTo>
                  <a:pt x="1109" y="893"/>
                </a:lnTo>
                <a:lnTo>
                  <a:pt x="1109" y="912"/>
                </a:lnTo>
                <a:lnTo>
                  <a:pt x="1107" y="929"/>
                </a:lnTo>
                <a:lnTo>
                  <a:pt x="1103" y="947"/>
                </a:lnTo>
                <a:lnTo>
                  <a:pt x="1099" y="963"/>
                </a:lnTo>
                <a:lnTo>
                  <a:pt x="1092" y="979"/>
                </a:lnTo>
                <a:lnTo>
                  <a:pt x="1085" y="995"/>
                </a:lnTo>
                <a:lnTo>
                  <a:pt x="1076" y="1010"/>
                </a:lnTo>
                <a:lnTo>
                  <a:pt x="1066" y="1023"/>
                </a:lnTo>
                <a:lnTo>
                  <a:pt x="1225" y="1181"/>
                </a:lnTo>
                <a:lnTo>
                  <a:pt x="1180" y="1224"/>
                </a:lnTo>
                <a:close/>
                <a:moveTo>
                  <a:pt x="306" y="862"/>
                </a:moveTo>
                <a:lnTo>
                  <a:pt x="306" y="492"/>
                </a:lnTo>
                <a:lnTo>
                  <a:pt x="614" y="492"/>
                </a:lnTo>
                <a:lnTo>
                  <a:pt x="614" y="893"/>
                </a:lnTo>
                <a:lnTo>
                  <a:pt x="614" y="893"/>
                </a:lnTo>
                <a:lnTo>
                  <a:pt x="614" y="924"/>
                </a:lnTo>
                <a:lnTo>
                  <a:pt x="58" y="924"/>
                </a:lnTo>
                <a:lnTo>
                  <a:pt x="58" y="862"/>
                </a:lnTo>
                <a:lnTo>
                  <a:pt x="306" y="862"/>
                </a:lnTo>
                <a:close/>
                <a:moveTo>
                  <a:pt x="553" y="862"/>
                </a:moveTo>
                <a:lnTo>
                  <a:pt x="553" y="554"/>
                </a:lnTo>
                <a:lnTo>
                  <a:pt x="368" y="554"/>
                </a:lnTo>
                <a:lnTo>
                  <a:pt x="368" y="862"/>
                </a:lnTo>
                <a:lnTo>
                  <a:pt x="553" y="862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7" name="Freeform 255"/>
          <p:cNvSpPr>
            <a:spLocks noEditPoints="1"/>
          </p:cNvSpPr>
          <p:nvPr/>
        </p:nvSpPr>
        <p:spPr bwMode="auto">
          <a:xfrm>
            <a:off x="515380" y="994609"/>
            <a:ext cx="322559" cy="308816"/>
          </a:xfrm>
          <a:custGeom>
            <a:avLst/>
            <a:gdLst/>
            <a:ahLst/>
            <a:cxnLst>
              <a:cxn ang="0">
                <a:pos x="767" y="717"/>
              </a:cxn>
              <a:cxn ang="0">
                <a:pos x="801" y="432"/>
              </a:cxn>
              <a:cxn ang="0">
                <a:pos x="789" y="749"/>
              </a:cxn>
              <a:cxn ang="0">
                <a:pos x="1127" y="506"/>
              </a:cxn>
              <a:cxn ang="0">
                <a:pos x="1115" y="489"/>
              </a:cxn>
              <a:cxn ang="0">
                <a:pos x="1104" y="475"/>
              </a:cxn>
              <a:cxn ang="0">
                <a:pos x="1097" y="469"/>
              </a:cxn>
              <a:cxn ang="0">
                <a:pos x="1085" y="458"/>
              </a:cxn>
              <a:cxn ang="0">
                <a:pos x="1046" y="435"/>
              </a:cxn>
              <a:cxn ang="0">
                <a:pos x="979" y="418"/>
              </a:cxn>
              <a:cxn ang="0">
                <a:pos x="895" y="436"/>
              </a:cxn>
              <a:cxn ang="0">
                <a:pos x="836" y="483"/>
              </a:cxn>
              <a:cxn ang="0">
                <a:pos x="821" y="502"/>
              </a:cxn>
              <a:cxn ang="0">
                <a:pos x="813" y="519"/>
              </a:cxn>
              <a:cxn ang="0">
                <a:pos x="808" y="528"/>
              </a:cxn>
              <a:cxn ang="0">
                <a:pos x="802" y="546"/>
              </a:cxn>
              <a:cxn ang="0">
                <a:pos x="798" y="559"/>
              </a:cxn>
              <a:cxn ang="0">
                <a:pos x="794" y="613"/>
              </a:cxn>
              <a:cxn ang="0">
                <a:pos x="803" y="655"/>
              </a:cxn>
              <a:cxn ang="0">
                <a:pos x="812" y="677"/>
              </a:cxn>
              <a:cxn ang="0">
                <a:pos x="818" y="688"/>
              </a:cxn>
              <a:cxn ang="0">
                <a:pos x="826" y="701"/>
              </a:cxn>
              <a:cxn ang="0">
                <a:pos x="840" y="717"/>
              </a:cxn>
              <a:cxn ang="0">
                <a:pos x="936" y="773"/>
              </a:cxn>
              <a:cxn ang="0">
                <a:pos x="1010" y="773"/>
              </a:cxn>
              <a:cxn ang="0">
                <a:pos x="1078" y="743"/>
              </a:cxn>
              <a:cxn ang="0">
                <a:pos x="1090" y="732"/>
              </a:cxn>
              <a:cxn ang="0">
                <a:pos x="1102" y="722"/>
              </a:cxn>
              <a:cxn ang="0">
                <a:pos x="1112" y="712"/>
              </a:cxn>
              <a:cxn ang="0">
                <a:pos x="1123" y="696"/>
              </a:cxn>
              <a:cxn ang="0">
                <a:pos x="1131" y="681"/>
              </a:cxn>
              <a:cxn ang="0">
                <a:pos x="1136" y="670"/>
              </a:cxn>
              <a:cxn ang="0">
                <a:pos x="1142" y="657"/>
              </a:cxn>
              <a:cxn ang="0">
                <a:pos x="1146" y="644"/>
              </a:cxn>
              <a:cxn ang="0">
                <a:pos x="1148" y="631"/>
              </a:cxn>
              <a:cxn ang="0">
                <a:pos x="1151" y="617"/>
              </a:cxn>
              <a:cxn ang="0">
                <a:pos x="1152" y="602"/>
              </a:cxn>
              <a:cxn ang="0">
                <a:pos x="1151" y="584"/>
              </a:cxn>
              <a:cxn ang="0">
                <a:pos x="1150" y="569"/>
              </a:cxn>
              <a:cxn ang="0">
                <a:pos x="1147" y="556"/>
              </a:cxn>
              <a:cxn ang="0">
                <a:pos x="1143" y="544"/>
              </a:cxn>
              <a:cxn ang="0">
                <a:pos x="1139" y="532"/>
              </a:cxn>
              <a:cxn ang="0">
                <a:pos x="1133" y="517"/>
              </a:cxn>
              <a:cxn ang="0">
                <a:pos x="948" y="715"/>
              </a:cxn>
              <a:cxn ang="0">
                <a:pos x="887" y="681"/>
              </a:cxn>
              <a:cxn ang="0">
                <a:pos x="856" y="620"/>
              </a:cxn>
              <a:cxn ang="0">
                <a:pos x="864" y="550"/>
              </a:cxn>
              <a:cxn ang="0">
                <a:pos x="908" y="498"/>
              </a:cxn>
              <a:cxn ang="0">
                <a:pos x="975" y="478"/>
              </a:cxn>
              <a:cxn ang="0">
                <a:pos x="1041" y="500"/>
              </a:cxn>
              <a:cxn ang="0">
                <a:pos x="1083" y="552"/>
              </a:cxn>
              <a:cxn ang="0">
                <a:pos x="1090" y="623"/>
              </a:cxn>
              <a:cxn ang="0">
                <a:pos x="1058" y="682"/>
              </a:cxn>
              <a:cxn ang="0">
                <a:pos x="998" y="715"/>
              </a:cxn>
              <a:cxn ang="0">
                <a:pos x="693" y="1194"/>
              </a:cxn>
              <a:cxn ang="0">
                <a:pos x="779" y="837"/>
              </a:cxn>
              <a:cxn ang="0">
                <a:pos x="798" y="896"/>
              </a:cxn>
              <a:cxn ang="0">
                <a:pos x="1064" y="835"/>
              </a:cxn>
              <a:cxn ang="0">
                <a:pos x="1133" y="962"/>
              </a:cxn>
              <a:cxn ang="0">
                <a:pos x="258" y="942"/>
              </a:cxn>
              <a:cxn ang="0">
                <a:pos x="300" y="566"/>
              </a:cxn>
              <a:cxn ang="0">
                <a:pos x="194" y="171"/>
              </a:cxn>
              <a:cxn ang="0">
                <a:pos x="60" y="299"/>
              </a:cxn>
            </a:cxnLst>
            <a:rect l="0" t="0" r="r" b="b"/>
            <a:pathLst>
              <a:path w="1194" h="1194">
                <a:moveTo>
                  <a:pt x="1133" y="0"/>
                </a:moveTo>
                <a:lnTo>
                  <a:pt x="0" y="0"/>
                </a:lnTo>
                <a:lnTo>
                  <a:pt x="0" y="359"/>
                </a:lnTo>
                <a:lnTo>
                  <a:pt x="1133" y="359"/>
                </a:lnTo>
                <a:lnTo>
                  <a:pt x="1133" y="0"/>
                </a:lnTo>
                <a:close/>
                <a:moveTo>
                  <a:pt x="767" y="717"/>
                </a:moveTo>
                <a:lnTo>
                  <a:pt x="60" y="717"/>
                </a:lnTo>
                <a:lnTo>
                  <a:pt x="60" y="478"/>
                </a:lnTo>
                <a:lnTo>
                  <a:pt x="767" y="478"/>
                </a:lnTo>
                <a:lnTo>
                  <a:pt x="776" y="462"/>
                </a:lnTo>
                <a:lnTo>
                  <a:pt x="789" y="447"/>
                </a:lnTo>
                <a:lnTo>
                  <a:pt x="801" y="432"/>
                </a:lnTo>
                <a:lnTo>
                  <a:pt x="816" y="418"/>
                </a:lnTo>
                <a:lnTo>
                  <a:pt x="0" y="418"/>
                </a:lnTo>
                <a:lnTo>
                  <a:pt x="0" y="777"/>
                </a:lnTo>
                <a:lnTo>
                  <a:pt x="816" y="777"/>
                </a:lnTo>
                <a:lnTo>
                  <a:pt x="801" y="763"/>
                </a:lnTo>
                <a:lnTo>
                  <a:pt x="789" y="749"/>
                </a:lnTo>
                <a:lnTo>
                  <a:pt x="776" y="734"/>
                </a:lnTo>
                <a:lnTo>
                  <a:pt x="767" y="717"/>
                </a:lnTo>
                <a:close/>
                <a:moveTo>
                  <a:pt x="1132" y="515"/>
                </a:moveTo>
                <a:lnTo>
                  <a:pt x="1129" y="510"/>
                </a:lnTo>
                <a:lnTo>
                  <a:pt x="1128" y="509"/>
                </a:lnTo>
                <a:lnTo>
                  <a:pt x="1127" y="506"/>
                </a:lnTo>
                <a:lnTo>
                  <a:pt x="1127" y="505"/>
                </a:lnTo>
                <a:lnTo>
                  <a:pt x="1125" y="502"/>
                </a:lnTo>
                <a:lnTo>
                  <a:pt x="1123" y="500"/>
                </a:lnTo>
                <a:lnTo>
                  <a:pt x="1120" y="496"/>
                </a:lnTo>
                <a:lnTo>
                  <a:pt x="1119" y="493"/>
                </a:lnTo>
                <a:lnTo>
                  <a:pt x="1115" y="489"/>
                </a:lnTo>
                <a:lnTo>
                  <a:pt x="1113" y="486"/>
                </a:lnTo>
                <a:lnTo>
                  <a:pt x="1110" y="482"/>
                </a:lnTo>
                <a:lnTo>
                  <a:pt x="1109" y="481"/>
                </a:lnTo>
                <a:lnTo>
                  <a:pt x="1108" y="479"/>
                </a:lnTo>
                <a:lnTo>
                  <a:pt x="1106" y="478"/>
                </a:lnTo>
                <a:lnTo>
                  <a:pt x="1104" y="475"/>
                </a:lnTo>
                <a:lnTo>
                  <a:pt x="1104" y="475"/>
                </a:lnTo>
                <a:lnTo>
                  <a:pt x="1102" y="474"/>
                </a:lnTo>
                <a:lnTo>
                  <a:pt x="1101" y="471"/>
                </a:lnTo>
                <a:lnTo>
                  <a:pt x="1098" y="470"/>
                </a:lnTo>
                <a:lnTo>
                  <a:pt x="1097" y="469"/>
                </a:lnTo>
                <a:lnTo>
                  <a:pt x="1097" y="469"/>
                </a:lnTo>
                <a:lnTo>
                  <a:pt x="1094" y="466"/>
                </a:lnTo>
                <a:lnTo>
                  <a:pt x="1092" y="464"/>
                </a:lnTo>
                <a:lnTo>
                  <a:pt x="1090" y="463"/>
                </a:lnTo>
                <a:lnTo>
                  <a:pt x="1089" y="460"/>
                </a:lnTo>
                <a:lnTo>
                  <a:pt x="1086" y="459"/>
                </a:lnTo>
                <a:lnTo>
                  <a:pt x="1085" y="458"/>
                </a:lnTo>
                <a:lnTo>
                  <a:pt x="1082" y="455"/>
                </a:lnTo>
                <a:lnTo>
                  <a:pt x="1079" y="454"/>
                </a:lnTo>
                <a:lnTo>
                  <a:pt x="1079" y="454"/>
                </a:lnTo>
                <a:lnTo>
                  <a:pt x="1069" y="446"/>
                </a:lnTo>
                <a:lnTo>
                  <a:pt x="1058" y="440"/>
                </a:lnTo>
                <a:lnTo>
                  <a:pt x="1046" y="435"/>
                </a:lnTo>
                <a:lnTo>
                  <a:pt x="1035" y="429"/>
                </a:lnTo>
                <a:lnTo>
                  <a:pt x="1023" y="425"/>
                </a:lnTo>
                <a:lnTo>
                  <a:pt x="1010" y="423"/>
                </a:lnTo>
                <a:lnTo>
                  <a:pt x="998" y="420"/>
                </a:lnTo>
                <a:lnTo>
                  <a:pt x="985" y="418"/>
                </a:lnTo>
                <a:lnTo>
                  <a:pt x="979" y="418"/>
                </a:lnTo>
                <a:lnTo>
                  <a:pt x="974" y="418"/>
                </a:lnTo>
                <a:lnTo>
                  <a:pt x="958" y="420"/>
                </a:lnTo>
                <a:lnTo>
                  <a:pt x="941" y="421"/>
                </a:lnTo>
                <a:lnTo>
                  <a:pt x="925" y="425"/>
                </a:lnTo>
                <a:lnTo>
                  <a:pt x="910" y="431"/>
                </a:lnTo>
                <a:lnTo>
                  <a:pt x="895" y="436"/>
                </a:lnTo>
                <a:lnTo>
                  <a:pt x="882" y="444"/>
                </a:lnTo>
                <a:lnTo>
                  <a:pt x="868" y="452"/>
                </a:lnTo>
                <a:lnTo>
                  <a:pt x="856" y="463"/>
                </a:lnTo>
                <a:lnTo>
                  <a:pt x="848" y="470"/>
                </a:lnTo>
                <a:lnTo>
                  <a:pt x="840" y="478"/>
                </a:lnTo>
                <a:lnTo>
                  <a:pt x="836" y="483"/>
                </a:lnTo>
                <a:lnTo>
                  <a:pt x="832" y="487"/>
                </a:lnTo>
                <a:lnTo>
                  <a:pt x="832" y="489"/>
                </a:lnTo>
                <a:lnTo>
                  <a:pt x="829" y="490"/>
                </a:lnTo>
                <a:lnTo>
                  <a:pt x="828" y="493"/>
                </a:lnTo>
                <a:lnTo>
                  <a:pt x="825" y="498"/>
                </a:lnTo>
                <a:lnTo>
                  <a:pt x="821" y="502"/>
                </a:lnTo>
                <a:lnTo>
                  <a:pt x="821" y="504"/>
                </a:lnTo>
                <a:lnTo>
                  <a:pt x="820" y="506"/>
                </a:lnTo>
                <a:lnTo>
                  <a:pt x="817" y="509"/>
                </a:lnTo>
                <a:lnTo>
                  <a:pt x="817" y="510"/>
                </a:lnTo>
                <a:lnTo>
                  <a:pt x="814" y="515"/>
                </a:lnTo>
                <a:lnTo>
                  <a:pt x="813" y="519"/>
                </a:lnTo>
                <a:lnTo>
                  <a:pt x="812" y="520"/>
                </a:lnTo>
                <a:lnTo>
                  <a:pt x="812" y="521"/>
                </a:lnTo>
                <a:lnTo>
                  <a:pt x="810" y="524"/>
                </a:lnTo>
                <a:lnTo>
                  <a:pt x="809" y="525"/>
                </a:lnTo>
                <a:lnTo>
                  <a:pt x="809" y="527"/>
                </a:lnTo>
                <a:lnTo>
                  <a:pt x="808" y="528"/>
                </a:lnTo>
                <a:lnTo>
                  <a:pt x="806" y="532"/>
                </a:lnTo>
                <a:lnTo>
                  <a:pt x="805" y="536"/>
                </a:lnTo>
                <a:lnTo>
                  <a:pt x="803" y="539"/>
                </a:lnTo>
                <a:lnTo>
                  <a:pt x="803" y="542"/>
                </a:lnTo>
                <a:lnTo>
                  <a:pt x="802" y="543"/>
                </a:lnTo>
                <a:lnTo>
                  <a:pt x="802" y="546"/>
                </a:lnTo>
                <a:lnTo>
                  <a:pt x="801" y="548"/>
                </a:lnTo>
                <a:lnTo>
                  <a:pt x="801" y="551"/>
                </a:lnTo>
                <a:lnTo>
                  <a:pt x="799" y="554"/>
                </a:lnTo>
                <a:lnTo>
                  <a:pt x="799" y="555"/>
                </a:lnTo>
                <a:lnTo>
                  <a:pt x="798" y="558"/>
                </a:lnTo>
                <a:lnTo>
                  <a:pt x="798" y="559"/>
                </a:lnTo>
                <a:lnTo>
                  <a:pt x="798" y="562"/>
                </a:lnTo>
                <a:lnTo>
                  <a:pt x="797" y="565"/>
                </a:lnTo>
                <a:lnTo>
                  <a:pt x="797" y="569"/>
                </a:lnTo>
                <a:lnTo>
                  <a:pt x="794" y="584"/>
                </a:lnTo>
                <a:lnTo>
                  <a:pt x="794" y="598"/>
                </a:lnTo>
                <a:lnTo>
                  <a:pt x="794" y="613"/>
                </a:lnTo>
                <a:lnTo>
                  <a:pt x="797" y="628"/>
                </a:lnTo>
                <a:lnTo>
                  <a:pt x="798" y="636"/>
                </a:lnTo>
                <a:lnTo>
                  <a:pt x="801" y="646"/>
                </a:lnTo>
                <a:lnTo>
                  <a:pt x="801" y="647"/>
                </a:lnTo>
                <a:lnTo>
                  <a:pt x="801" y="647"/>
                </a:lnTo>
                <a:lnTo>
                  <a:pt x="803" y="655"/>
                </a:lnTo>
                <a:lnTo>
                  <a:pt x="806" y="663"/>
                </a:lnTo>
                <a:lnTo>
                  <a:pt x="808" y="665"/>
                </a:lnTo>
                <a:lnTo>
                  <a:pt x="808" y="667"/>
                </a:lnTo>
                <a:lnTo>
                  <a:pt x="809" y="670"/>
                </a:lnTo>
                <a:lnTo>
                  <a:pt x="810" y="671"/>
                </a:lnTo>
                <a:lnTo>
                  <a:pt x="812" y="677"/>
                </a:lnTo>
                <a:lnTo>
                  <a:pt x="814" y="681"/>
                </a:lnTo>
                <a:lnTo>
                  <a:pt x="814" y="681"/>
                </a:lnTo>
                <a:lnTo>
                  <a:pt x="814" y="681"/>
                </a:lnTo>
                <a:lnTo>
                  <a:pt x="816" y="684"/>
                </a:lnTo>
                <a:lnTo>
                  <a:pt x="817" y="686"/>
                </a:lnTo>
                <a:lnTo>
                  <a:pt x="818" y="688"/>
                </a:lnTo>
                <a:lnTo>
                  <a:pt x="820" y="690"/>
                </a:lnTo>
                <a:lnTo>
                  <a:pt x="821" y="692"/>
                </a:lnTo>
                <a:lnTo>
                  <a:pt x="821" y="693"/>
                </a:lnTo>
                <a:lnTo>
                  <a:pt x="822" y="693"/>
                </a:lnTo>
                <a:lnTo>
                  <a:pt x="824" y="697"/>
                </a:lnTo>
                <a:lnTo>
                  <a:pt x="826" y="701"/>
                </a:lnTo>
                <a:lnTo>
                  <a:pt x="828" y="704"/>
                </a:lnTo>
                <a:lnTo>
                  <a:pt x="829" y="705"/>
                </a:lnTo>
                <a:lnTo>
                  <a:pt x="831" y="707"/>
                </a:lnTo>
                <a:lnTo>
                  <a:pt x="833" y="709"/>
                </a:lnTo>
                <a:lnTo>
                  <a:pt x="836" y="713"/>
                </a:lnTo>
                <a:lnTo>
                  <a:pt x="840" y="717"/>
                </a:lnTo>
                <a:lnTo>
                  <a:pt x="854" y="731"/>
                </a:lnTo>
                <a:lnTo>
                  <a:pt x="867" y="743"/>
                </a:lnTo>
                <a:lnTo>
                  <a:pt x="883" y="753"/>
                </a:lnTo>
                <a:lnTo>
                  <a:pt x="899" y="761"/>
                </a:lnTo>
                <a:lnTo>
                  <a:pt x="917" y="768"/>
                </a:lnTo>
                <a:lnTo>
                  <a:pt x="936" y="773"/>
                </a:lnTo>
                <a:lnTo>
                  <a:pt x="954" y="776"/>
                </a:lnTo>
                <a:lnTo>
                  <a:pt x="973" y="777"/>
                </a:lnTo>
                <a:lnTo>
                  <a:pt x="979" y="777"/>
                </a:lnTo>
                <a:lnTo>
                  <a:pt x="985" y="777"/>
                </a:lnTo>
                <a:lnTo>
                  <a:pt x="997" y="776"/>
                </a:lnTo>
                <a:lnTo>
                  <a:pt x="1010" y="773"/>
                </a:lnTo>
                <a:lnTo>
                  <a:pt x="1023" y="770"/>
                </a:lnTo>
                <a:lnTo>
                  <a:pt x="1033" y="766"/>
                </a:lnTo>
                <a:lnTo>
                  <a:pt x="1046" y="762"/>
                </a:lnTo>
                <a:lnTo>
                  <a:pt x="1056" y="755"/>
                </a:lnTo>
                <a:lnTo>
                  <a:pt x="1069" y="750"/>
                </a:lnTo>
                <a:lnTo>
                  <a:pt x="1078" y="743"/>
                </a:lnTo>
                <a:lnTo>
                  <a:pt x="1079" y="742"/>
                </a:lnTo>
                <a:lnTo>
                  <a:pt x="1082" y="740"/>
                </a:lnTo>
                <a:lnTo>
                  <a:pt x="1085" y="738"/>
                </a:lnTo>
                <a:lnTo>
                  <a:pt x="1085" y="738"/>
                </a:lnTo>
                <a:lnTo>
                  <a:pt x="1087" y="735"/>
                </a:lnTo>
                <a:lnTo>
                  <a:pt x="1090" y="732"/>
                </a:lnTo>
                <a:lnTo>
                  <a:pt x="1092" y="732"/>
                </a:lnTo>
                <a:lnTo>
                  <a:pt x="1097" y="727"/>
                </a:lnTo>
                <a:lnTo>
                  <a:pt x="1097" y="727"/>
                </a:lnTo>
                <a:lnTo>
                  <a:pt x="1098" y="726"/>
                </a:lnTo>
                <a:lnTo>
                  <a:pt x="1100" y="724"/>
                </a:lnTo>
                <a:lnTo>
                  <a:pt x="1102" y="722"/>
                </a:lnTo>
                <a:lnTo>
                  <a:pt x="1104" y="720"/>
                </a:lnTo>
                <a:lnTo>
                  <a:pt x="1104" y="720"/>
                </a:lnTo>
                <a:lnTo>
                  <a:pt x="1106" y="717"/>
                </a:lnTo>
                <a:lnTo>
                  <a:pt x="1108" y="716"/>
                </a:lnTo>
                <a:lnTo>
                  <a:pt x="1109" y="713"/>
                </a:lnTo>
                <a:lnTo>
                  <a:pt x="1112" y="712"/>
                </a:lnTo>
                <a:lnTo>
                  <a:pt x="1113" y="709"/>
                </a:lnTo>
                <a:lnTo>
                  <a:pt x="1115" y="707"/>
                </a:lnTo>
                <a:lnTo>
                  <a:pt x="1116" y="705"/>
                </a:lnTo>
                <a:lnTo>
                  <a:pt x="1119" y="703"/>
                </a:lnTo>
                <a:lnTo>
                  <a:pt x="1120" y="700"/>
                </a:lnTo>
                <a:lnTo>
                  <a:pt x="1123" y="696"/>
                </a:lnTo>
                <a:lnTo>
                  <a:pt x="1124" y="693"/>
                </a:lnTo>
                <a:lnTo>
                  <a:pt x="1125" y="690"/>
                </a:lnTo>
                <a:lnTo>
                  <a:pt x="1127" y="689"/>
                </a:lnTo>
                <a:lnTo>
                  <a:pt x="1128" y="688"/>
                </a:lnTo>
                <a:lnTo>
                  <a:pt x="1129" y="685"/>
                </a:lnTo>
                <a:lnTo>
                  <a:pt x="1131" y="681"/>
                </a:lnTo>
                <a:lnTo>
                  <a:pt x="1132" y="680"/>
                </a:lnTo>
                <a:lnTo>
                  <a:pt x="1133" y="678"/>
                </a:lnTo>
                <a:lnTo>
                  <a:pt x="1133" y="676"/>
                </a:lnTo>
                <a:lnTo>
                  <a:pt x="1135" y="674"/>
                </a:lnTo>
                <a:lnTo>
                  <a:pt x="1136" y="671"/>
                </a:lnTo>
                <a:lnTo>
                  <a:pt x="1136" y="670"/>
                </a:lnTo>
                <a:lnTo>
                  <a:pt x="1139" y="666"/>
                </a:lnTo>
                <a:lnTo>
                  <a:pt x="1139" y="665"/>
                </a:lnTo>
                <a:lnTo>
                  <a:pt x="1140" y="662"/>
                </a:lnTo>
                <a:lnTo>
                  <a:pt x="1140" y="661"/>
                </a:lnTo>
                <a:lnTo>
                  <a:pt x="1142" y="658"/>
                </a:lnTo>
                <a:lnTo>
                  <a:pt x="1142" y="657"/>
                </a:lnTo>
                <a:lnTo>
                  <a:pt x="1143" y="654"/>
                </a:lnTo>
                <a:lnTo>
                  <a:pt x="1143" y="653"/>
                </a:lnTo>
                <a:lnTo>
                  <a:pt x="1144" y="650"/>
                </a:lnTo>
                <a:lnTo>
                  <a:pt x="1144" y="648"/>
                </a:lnTo>
                <a:lnTo>
                  <a:pt x="1146" y="646"/>
                </a:lnTo>
                <a:lnTo>
                  <a:pt x="1146" y="644"/>
                </a:lnTo>
                <a:lnTo>
                  <a:pt x="1147" y="642"/>
                </a:lnTo>
                <a:lnTo>
                  <a:pt x="1147" y="639"/>
                </a:lnTo>
                <a:lnTo>
                  <a:pt x="1147" y="638"/>
                </a:lnTo>
                <a:lnTo>
                  <a:pt x="1148" y="635"/>
                </a:lnTo>
                <a:lnTo>
                  <a:pt x="1148" y="634"/>
                </a:lnTo>
                <a:lnTo>
                  <a:pt x="1148" y="631"/>
                </a:lnTo>
                <a:lnTo>
                  <a:pt x="1150" y="628"/>
                </a:lnTo>
                <a:lnTo>
                  <a:pt x="1150" y="627"/>
                </a:lnTo>
                <a:lnTo>
                  <a:pt x="1150" y="624"/>
                </a:lnTo>
                <a:lnTo>
                  <a:pt x="1150" y="623"/>
                </a:lnTo>
                <a:lnTo>
                  <a:pt x="1151" y="620"/>
                </a:lnTo>
                <a:lnTo>
                  <a:pt x="1151" y="617"/>
                </a:lnTo>
                <a:lnTo>
                  <a:pt x="1151" y="616"/>
                </a:lnTo>
                <a:lnTo>
                  <a:pt x="1151" y="613"/>
                </a:lnTo>
                <a:lnTo>
                  <a:pt x="1151" y="611"/>
                </a:lnTo>
                <a:lnTo>
                  <a:pt x="1151" y="608"/>
                </a:lnTo>
                <a:lnTo>
                  <a:pt x="1152" y="607"/>
                </a:lnTo>
                <a:lnTo>
                  <a:pt x="1152" y="602"/>
                </a:lnTo>
                <a:lnTo>
                  <a:pt x="1152" y="598"/>
                </a:lnTo>
                <a:lnTo>
                  <a:pt x="1152" y="593"/>
                </a:lnTo>
                <a:lnTo>
                  <a:pt x="1152" y="589"/>
                </a:lnTo>
                <a:lnTo>
                  <a:pt x="1151" y="588"/>
                </a:lnTo>
                <a:lnTo>
                  <a:pt x="1151" y="586"/>
                </a:lnTo>
                <a:lnTo>
                  <a:pt x="1151" y="584"/>
                </a:lnTo>
                <a:lnTo>
                  <a:pt x="1151" y="579"/>
                </a:lnTo>
                <a:lnTo>
                  <a:pt x="1151" y="578"/>
                </a:lnTo>
                <a:lnTo>
                  <a:pt x="1151" y="577"/>
                </a:lnTo>
                <a:lnTo>
                  <a:pt x="1150" y="574"/>
                </a:lnTo>
                <a:lnTo>
                  <a:pt x="1150" y="571"/>
                </a:lnTo>
                <a:lnTo>
                  <a:pt x="1150" y="569"/>
                </a:lnTo>
                <a:lnTo>
                  <a:pt x="1150" y="567"/>
                </a:lnTo>
                <a:lnTo>
                  <a:pt x="1148" y="565"/>
                </a:lnTo>
                <a:lnTo>
                  <a:pt x="1148" y="563"/>
                </a:lnTo>
                <a:lnTo>
                  <a:pt x="1148" y="561"/>
                </a:lnTo>
                <a:lnTo>
                  <a:pt x="1147" y="559"/>
                </a:lnTo>
                <a:lnTo>
                  <a:pt x="1147" y="556"/>
                </a:lnTo>
                <a:lnTo>
                  <a:pt x="1147" y="554"/>
                </a:lnTo>
                <a:lnTo>
                  <a:pt x="1146" y="552"/>
                </a:lnTo>
                <a:lnTo>
                  <a:pt x="1146" y="550"/>
                </a:lnTo>
                <a:lnTo>
                  <a:pt x="1144" y="548"/>
                </a:lnTo>
                <a:lnTo>
                  <a:pt x="1144" y="546"/>
                </a:lnTo>
                <a:lnTo>
                  <a:pt x="1143" y="544"/>
                </a:lnTo>
                <a:lnTo>
                  <a:pt x="1143" y="542"/>
                </a:lnTo>
                <a:lnTo>
                  <a:pt x="1142" y="540"/>
                </a:lnTo>
                <a:lnTo>
                  <a:pt x="1142" y="538"/>
                </a:lnTo>
                <a:lnTo>
                  <a:pt x="1140" y="536"/>
                </a:lnTo>
                <a:lnTo>
                  <a:pt x="1140" y="533"/>
                </a:lnTo>
                <a:lnTo>
                  <a:pt x="1139" y="532"/>
                </a:lnTo>
                <a:lnTo>
                  <a:pt x="1139" y="529"/>
                </a:lnTo>
                <a:lnTo>
                  <a:pt x="1136" y="525"/>
                </a:lnTo>
                <a:lnTo>
                  <a:pt x="1136" y="524"/>
                </a:lnTo>
                <a:lnTo>
                  <a:pt x="1135" y="521"/>
                </a:lnTo>
                <a:lnTo>
                  <a:pt x="1133" y="520"/>
                </a:lnTo>
                <a:lnTo>
                  <a:pt x="1133" y="517"/>
                </a:lnTo>
                <a:lnTo>
                  <a:pt x="1132" y="516"/>
                </a:lnTo>
                <a:lnTo>
                  <a:pt x="1132" y="515"/>
                </a:lnTo>
                <a:close/>
                <a:moveTo>
                  <a:pt x="975" y="717"/>
                </a:moveTo>
                <a:lnTo>
                  <a:pt x="971" y="717"/>
                </a:lnTo>
                <a:lnTo>
                  <a:pt x="959" y="716"/>
                </a:lnTo>
                <a:lnTo>
                  <a:pt x="948" y="715"/>
                </a:lnTo>
                <a:lnTo>
                  <a:pt x="936" y="712"/>
                </a:lnTo>
                <a:lnTo>
                  <a:pt x="925" y="707"/>
                </a:lnTo>
                <a:lnTo>
                  <a:pt x="914" y="703"/>
                </a:lnTo>
                <a:lnTo>
                  <a:pt x="905" y="696"/>
                </a:lnTo>
                <a:lnTo>
                  <a:pt x="897" y="689"/>
                </a:lnTo>
                <a:lnTo>
                  <a:pt x="887" y="681"/>
                </a:lnTo>
                <a:lnTo>
                  <a:pt x="881" y="673"/>
                </a:lnTo>
                <a:lnTo>
                  <a:pt x="874" y="663"/>
                </a:lnTo>
                <a:lnTo>
                  <a:pt x="867" y="654"/>
                </a:lnTo>
                <a:lnTo>
                  <a:pt x="863" y="643"/>
                </a:lnTo>
                <a:lnTo>
                  <a:pt x="859" y="632"/>
                </a:lnTo>
                <a:lnTo>
                  <a:pt x="856" y="620"/>
                </a:lnTo>
                <a:lnTo>
                  <a:pt x="855" y="609"/>
                </a:lnTo>
                <a:lnTo>
                  <a:pt x="854" y="597"/>
                </a:lnTo>
                <a:lnTo>
                  <a:pt x="855" y="585"/>
                </a:lnTo>
                <a:lnTo>
                  <a:pt x="856" y="573"/>
                </a:lnTo>
                <a:lnTo>
                  <a:pt x="859" y="561"/>
                </a:lnTo>
                <a:lnTo>
                  <a:pt x="864" y="550"/>
                </a:lnTo>
                <a:lnTo>
                  <a:pt x="868" y="540"/>
                </a:lnTo>
                <a:lnTo>
                  <a:pt x="875" y="529"/>
                </a:lnTo>
                <a:lnTo>
                  <a:pt x="882" y="521"/>
                </a:lnTo>
                <a:lnTo>
                  <a:pt x="890" y="512"/>
                </a:lnTo>
                <a:lnTo>
                  <a:pt x="898" y="505"/>
                </a:lnTo>
                <a:lnTo>
                  <a:pt x="908" y="498"/>
                </a:lnTo>
                <a:lnTo>
                  <a:pt x="917" y="492"/>
                </a:lnTo>
                <a:lnTo>
                  <a:pt x="928" y="487"/>
                </a:lnTo>
                <a:lnTo>
                  <a:pt x="939" y="483"/>
                </a:lnTo>
                <a:lnTo>
                  <a:pt x="951" y="481"/>
                </a:lnTo>
                <a:lnTo>
                  <a:pt x="962" y="479"/>
                </a:lnTo>
                <a:lnTo>
                  <a:pt x="975" y="478"/>
                </a:lnTo>
                <a:lnTo>
                  <a:pt x="987" y="479"/>
                </a:lnTo>
                <a:lnTo>
                  <a:pt x="998" y="481"/>
                </a:lnTo>
                <a:lnTo>
                  <a:pt x="1010" y="485"/>
                </a:lnTo>
                <a:lnTo>
                  <a:pt x="1021" y="489"/>
                </a:lnTo>
                <a:lnTo>
                  <a:pt x="1031" y="493"/>
                </a:lnTo>
                <a:lnTo>
                  <a:pt x="1041" y="500"/>
                </a:lnTo>
                <a:lnTo>
                  <a:pt x="1050" y="506"/>
                </a:lnTo>
                <a:lnTo>
                  <a:pt x="1059" y="515"/>
                </a:lnTo>
                <a:lnTo>
                  <a:pt x="1066" y="523"/>
                </a:lnTo>
                <a:lnTo>
                  <a:pt x="1073" y="532"/>
                </a:lnTo>
                <a:lnTo>
                  <a:pt x="1079" y="542"/>
                </a:lnTo>
                <a:lnTo>
                  <a:pt x="1083" y="552"/>
                </a:lnTo>
                <a:lnTo>
                  <a:pt x="1087" y="563"/>
                </a:lnTo>
                <a:lnTo>
                  <a:pt x="1090" y="575"/>
                </a:lnTo>
                <a:lnTo>
                  <a:pt x="1092" y="588"/>
                </a:lnTo>
                <a:lnTo>
                  <a:pt x="1093" y="600"/>
                </a:lnTo>
                <a:lnTo>
                  <a:pt x="1092" y="611"/>
                </a:lnTo>
                <a:lnTo>
                  <a:pt x="1090" y="623"/>
                </a:lnTo>
                <a:lnTo>
                  <a:pt x="1087" y="634"/>
                </a:lnTo>
                <a:lnTo>
                  <a:pt x="1083" y="644"/>
                </a:lnTo>
                <a:lnTo>
                  <a:pt x="1078" y="655"/>
                </a:lnTo>
                <a:lnTo>
                  <a:pt x="1073" y="665"/>
                </a:lnTo>
                <a:lnTo>
                  <a:pt x="1066" y="674"/>
                </a:lnTo>
                <a:lnTo>
                  <a:pt x="1058" y="682"/>
                </a:lnTo>
                <a:lnTo>
                  <a:pt x="1050" y="690"/>
                </a:lnTo>
                <a:lnTo>
                  <a:pt x="1040" y="697"/>
                </a:lnTo>
                <a:lnTo>
                  <a:pt x="1031" y="703"/>
                </a:lnTo>
                <a:lnTo>
                  <a:pt x="1020" y="708"/>
                </a:lnTo>
                <a:lnTo>
                  <a:pt x="1009" y="712"/>
                </a:lnTo>
                <a:lnTo>
                  <a:pt x="998" y="715"/>
                </a:lnTo>
                <a:lnTo>
                  <a:pt x="986" y="716"/>
                </a:lnTo>
                <a:lnTo>
                  <a:pt x="975" y="717"/>
                </a:lnTo>
                <a:close/>
                <a:moveTo>
                  <a:pt x="0" y="837"/>
                </a:moveTo>
                <a:lnTo>
                  <a:pt x="0" y="1194"/>
                </a:lnTo>
                <a:lnTo>
                  <a:pt x="693" y="1194"/>
                </a:lnTo>
                <a:lnTo>
                  <a:pt x="693" y="1194"/>
                </a:lnTo>
                <a:lnTo>
                  <a:pt x="693" y="1134"/>
                </a:lnTo>
                <a:lnTo>
                  <a:pt x="60" y="1134"/>
                </a:lnTo>
                <a:lnTo>
                  <a:pt x="60" y="896"/>
                </a:lnTo>
                <a:lnTo>
                  <a:pt x="699" y="896"/>
                </a:lnTo>
                <a:lnTo>
                  <a:pt x="717" y="883"/>
                </a:lnTo>
                <a:lnTo>
                  <a:pt x="779" y="837"/>
                </a:lnTo>
                <a:lnTo>
                  <a:pt x="0" y="837"/>
                </a:lnTo>
                <a:close/>
                <a:moveTo>
                  <a:pt x="1064" y="835"/>
                </a:moveTo>
                <a:lnTo>
                  <a:pt x="882" y="835"/>
                </a:lnTo>
                <a:lnTo>
                  <a:pt x="881" y="837"/>
                </a:lnTo>
                <a:lnTo>
                  <a:pt x="878" y="837"/>
                </a:lnTo>
                <a:lnTo>
                  <a:pt x="798" y="896"/>
                </a:lnTo>
                <a:lnTo>
                  <a:pt x="801" y="896"/>
                </a:lnTo>
                <a:lnTo>
                  <a:pt x="752" y="931"/>
                </a:lnTo>
                <a:lnTo>
                  <a:pt x="752" y="1192"/>
                </a:lnTo>
                <a:lnTo>
                  <a:pt x="1194" y="1192"/>
                </a:lnTo>
                <a:lnTo>
                  <a:pt x="1194" y="933"/>
                </a:lnTo>
                <a:lnTo>
                  <a:pt x="1064" y="835"/>
                </a:lnTo>
                <a:close/>
                <a:moveTo>
                  <a:pt x="1133" y="1136"/>
                </a:moveTo>
                <a:lnTo>
                  <a:pt x="812" y="1136"/>
                </a:lnTo>
                <a:lnTo>
                  <a:pt x="812" y="962"/>
                </a:lnTo>
                <a:lnTo>
                  <a:pt x="901" y="895"/>
                </a:lnTo>
                <a:lnTo>
                  <a:pt x="1046" y="895"/>
                </a:lnTo>
                <a:lnTo>
                  <a:pt x="1133" y="962"/>
                </a:lnTo>
                <a:lnTo>
                  <a:pt x="1133" y="1136"/>
                </a:lnTo>
                <a:close/>
                <a:moveTo>
                  <a:pt x="161" y="973"/>
                </a:moveTo>
                <a:lnTo>
                  <a:pt x="119" y="1016"/>
                </a:lnTo>
                <a:lnTo>
                  <a:pt x="194" y="1091"/>
                </a:lnTo>
                <a:lnTo>
                  <a:pt x="300" y="984"/>
                </a:lnTo>
                <a:lnTo>
                  <a:pt x="258" y="942"/>
                </a:lnTo>
                <a:lnTo>
                  <a:pt x="194" y="1006"/>
                </a:lnTo>
                <a:lnTo>
                  <a:pt x="161" y="973"/>
                </a:lnTo>
                <a:close/>
                <a:moveTo>
                  <a:pt x="161" y="555"/>
                </a:moveTo>
                <a:lnTo>
                  <a:pt x="119" y="598"/>
                </a:lnTo>
                <a:lnTo>
                  <a:pt x="194" y="673"/>
                </a:lnTo>
                <a:lnTo>
                  <a:pt x="300" y="566"/>
                </a:lnTo>
                <a:lnTo>
                  <a:pt x="258" y="524"/>
                </a:lnTo>
                <a:lnTo>
                  <a:pt x="194" y="588"/>
                </a:lnTo>
                <a:lnTo>
                  <a:pt x="161" y="555"/>
                </a:lnTo>
                <a:close/>
                <a:moveTo>
                  <a:pt x="300" y="148"/>
                </a:moveTo>
                <a:lnTo>
                  <a:pt x="258" y="106"/>
                </a:lnTo>
                <a:lnTo>
                  <a:pt x="194" y="171"/>
                </a:lnTo>
                <a:lnTo>
                  <a:pt x="161" y="138"/>
                </a:lnTo>
                <a:lnTo>
                  <a:pt x="119" y="180"/>
                </a:lnTo>
                <a:lnTo>
                  <a:pt x="194" y="255"/>
                </a:lnTo>
                <a:lnTo>
                  <a:pt x="300" y="148"/>
                </a:lnTo>
                <a:close/>
                <a:moveTo>
                  <a:pt x="1074" y="299"/>
                </a:moveTo>
                <a:lnTo>
                  <a:pt x="60" y="299"/>
                </a:lnTo>
                <a:lnTo>
                  <a:pt x="60" y="60"/>
                </a:lnTo>
                <a:lnTo>
                  <a:pt x="1074" y="60"/>
                </a:lnTo>
                <a:lnTo>
                  <a:pt x="1074" y="299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E29AF5A0-8CD6-A240-9F94-7F3F2F970471}"/>
              </a:ext>
            </a:extLst>
          </p:cNvPr>
          <p:cNvSpPr/>
          <p:nvPr/>
        </p:nvSpPr>
        <p:spPr>
          <a:xfrm>
            <a:off x="7844672" y="1018212"/>
            <a:ext cx="14294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сплуатац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3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384777" y="1560309"/>
            <a:ext cx="2064959" cy="712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73462" rIns="73462" bIns="7346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ое качество эксплуатационного контроля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7386628" y="3212976"/>
            <a:ext cx="428999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R="0" lvl="1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Осуществление контроля технологическим персоналом, не имеющим нужной квалификаци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7383799" y="4617132"/>
            <a:ext cx="429282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Отсутствие на предприятии экспертного и методологического центра, консолидирующего данные и регламентирующего процесс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6" name="Rectangle 3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11661" y="1564072"/>
            <a:ext cx="2064959" cy="712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73462" rIns="73462" bIns="7346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чёт ЗиС не полном объеме</a:t>
            </a: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7384776" y="3937702"/>
            <a:ext cx="436385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Отсутствие заинтересованности подразделений в учёте ЗиС</a:t>
            </a: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515380" y="4607260"/>
            <a:ext cx="65459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Неудовлетворительная подготовка ЗиС к ОТ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24EAD9D-DD0C-1046-EA78-107633D8724C}"/>
              </a:ext>
            </a:extLst>
          </p:cNvPr>
          <p:cNvSpPr txBox="1">
            <a:spLocks/>
          </p:cNvSpPr>
          <p:nvPr/>
        </p:nvSpPr>
        <p:spPr>
          <a:xfrm>
            <a:off x="7386628" y="2582334"/>
            <a:ext cx="428999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Tx/>
              <a:buSzPct val="100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Tx/>
              <a:buSzPct val="100000"/>
              <a:buFont typeface="Arial" pitchFamily="34" charset="0"/>
              <a:buChar char="&gt;"/>
              <a:defRPr>
                <a:latin typeface="+mn-lt"/>
              </a:defRPr>
            </a:lvl3pPr>
            <a:lvl4pPr marL="614363" lvl="3" indent="-155575" defTabSz="895350" eaLnBrk="1" hangingPunct="1">
              <a:buClrTx/>
              <a:buSzPct val="100000"/>
              <a:buFont typeface="Arial" pitchFamily="34" charset="0"/>
              <a:buChar char="–"/>
              <a:defRPr>
                <a:latin typeface="+mn-lt"/>
              </a:defRPr>
            </a:lvl4pPr>
            <a:lvl5pPr marL="749808" lvl="4" indent="-130175" defTabSz="895350" eaLnBrk="1" hangingPunct="1">
              <a:buClrTx/>
              <a:buSzPct val="100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R="0" lvl="1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Процесс эксплуатации ЗиС не является для подразделения основным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8963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78C16451-BC2F-4A06-BA61-AC2912302D84}"/>
              </a:ext>
            </a:extLst>
          </p:cNvPr>
          <p:cNvSpPr/>
          <p:nvPr/>
        </p:nvSpPr>
        <p:spPr>
          <a:xfrm>
            <a:off x="6420036" y="975774"/>
            <a:ext cx="5363976" cy="1540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rgbClr val="FF0000"/>
              </a:buClr>
            </a:pPr>
            <a:endParaRPr lang="ru-RU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E6BC517F-6B6B-403B-A272-B3B7AF5CCC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29F11A-CAD2-4FD2-9793-0DC6E98D19B3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0CE0F8D-AD14-44B9-8881-AB4D4B4AE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 dirty="0"/>
              <a:t>Трансформация ОТС ЗиС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1"/>
          </p:nvPr>
        </p:nvSpPr>
        <p:spPr>
          <a:xfrm>
            <a:off x="3540370" y="3800472"/>
            <a:ext cx="863476" cy="161583"/>
          </a:xfrm>
        </p:spPr>
        <p:txBody>
          <a:bodyPr/>
          <a:lstStyle/>
          <a:p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F0CE849F-B4A0-473F-954E-D15AF612F319}"/>
              </a:ext>
            </a:extLst>
          </p:cNvPr>
          <p:cNvSpPr/>
          <p:nvPr/>
        </p:nvSpPr>
        <p:spPr>
          <a:xfrm>
            <a:off x="7573487" y="1140479"/>
            <a:ext cx="4389754" cy="728405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ПР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азработаны КПР для регулярной оценки экспертных организаций, штрафные санкци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3080EBE6-F759-4B94-9F1B-99A581710A2A}"/>
              </a:ext>
            </a:extLst>
          </p:cNvPr>
          <p:cNvSpPr/>
          <p:nvPr/>
        </p:nvSpPr>
        <p:spPr>
          <a:xfrm>
            <a:off x="408022" y="2673272"/>
            <a:ext cx="5363976" cy="15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rgbClr val="FF0000"/>
              </a:buClr>
            </a:pPr>
            <a:endParaRPr lang="ru-RU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40E8C8E9-88C2-49A8-A78E-723D54D95945}"/>
              </a:ext>
            </a:extLst>
          </p:cNvPr>
          <p:cNvSpPr/>
          <p:nvPr/>
        </p:nvSpPr>
        <p:spPr>
          <a:xfrm>
            <a:off x="1378337" y="2779697"/>
            <a:ext cx="4389754" cy="913070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требовани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69"/>
              </a:spcAft>
              <a:defRPr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зработаны дополнительные требования к оценке для всех видов ЗиС в зависимости от функционального предназначения и условий эксплуатации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9935AD0C-6F98-4725-9884-E4435371AF8D}"/>
              </a:ext>
            </a:extLst>
          </p:cNvPr>
          <p:cNvSpPr/>
          <p:nvPr/>
        </p:nvSpPr>
        <p:spPr>
          <a:xfrm>
            <a:off x="6420036" y="2679932"/>
            <a:ext cx="5363976" cy="1466058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792000" tIns="1080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B2A0F4E5-E0DE-4F4D-9CBB-F917EA2155E8}"/>
              </a:ext>
            </a:extLst>
          </p:cNvPr>
          <p:cNvSpPr/>
          <p:nvPr/>
        </p:nvSpPr>
        <p:spPr>
          <a:xfrm>
            <a:off x="7390351" y="2860024"/>
            <a:ext cx="4389754" cy="1134862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ульное ценообразование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69"/>
              </a:spcAft>
              <a:defRPr/>
            </a:pPr>
            <a:r>
              <a:rPr lang="ru-RU" sz="1200" dirty="0">
                <a:solidFill>
                  <a:schemeClr val="bg1"/>
                </a:solidFill>
              </a:rPr>
              <a:t>Сформированы требования к определению стоимости работ по ОТС – формулы расчёта стоимости в зависимости от вида объектов, порядок индексации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endParaRPr kumimoji="0" lang="ru-RU" sz="1108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9935AD0C-6F98-4725-9884-E4435371AF8D}"/>
              </a:ext>
            </a:extLst>
          </p:cNvPr>
          <p:cNvSpPr/>
          <p:nvPr/>
        </p:nvSpPr>
        <p:spPr>
          <a:xfrm>
            <a:off x="407988" y="980729"/>
            <a:ext cx="5363976" cy="1476164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792000" tIns="1080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B2A0F4E5-E0DE-4F4D-9CBB-F917EA2155E8}"/>
              </a:ext>
            </a:extLst>
          </p:cNvPr>
          <p:cNvSpPr/>
          <p:nvPr/>
        </p:nvSpPr>
        <p:spPr>
          <a:xfrm>
            <a:off x="1381431" y="1128847"/>
            <a:ext cx="4389754" cy="1097736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lvl="0">
              <a:spcAft>
                <a:spcPts val="369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пула основных ЭО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bg1"/>
                </a:solidFill>
              </a:rPr>
              <a:t>Разработаны требования к экспертным организациям, определены критерии отбора минимального количества основных исполнителей, проведено исследование рынка, сформирован пул организаций</a:t>
            </a:r>
          </a:p>
        </p:txBody>
      </p:sp>
      <p:sp>
        <p:nvSpPr>
          <p:cNvPr id="35" name="Freeform 95"/>
          <p:cNvSpPr>
            <a:spLocks noEditPoints="1"/>
          </p:cNvSpPr>
          <p:nvPr/>
        </p:nvSpPr>
        <p:spPr bwMode="auto">
          <a:xfrm>
            <a:off x="721339" y="1211761"/>
            <a:ext cx="442113" cy="407564"/>
          </a:xfrm>
          <a:custGeom>
            <a:avLst/>
            <a:gdLst/>
            <a:ahLst/>
            <a:cxnLst>
              <a:cxn ang="0">
                <a:pos x="358" y="237"/>
              </a:cxn>
              <a:cxn ang="0">
                <a:pos x="304" y="122"/>
              </a:cxn>
              <a:cxn ang="0">
                <a:pos x="178" y="91"/>
              </a:cxn>
              <a:cxn ang="0">
                <a:pos x="78" y="167"/>
              </a:cxn>
              <a:cxn ang="0">
                <a:pos x="66" y="280"/>
              </a:cxn>
              <a:cxn ang="0">
                <a:pos x="60" y="1189"/>
              </a:cxn>
              <a:cxn ang="0">
                <a:pos x="135" y="387"/>
              </a:cxn>
              <a:cxn ang="0">
                <a:pos x="626" y="565"/>
              </a:cxn>
              <a:cxn ang="0">
                <a:pos x="685" y="1070"/>
              </a:cxn>
              <a:cxn ang="0">
                <a:pos x="685" y="118"/>
              </a:cxn>
              <a:cxn ang="0">
                <a:pos x="982" y="1011"/>
              </a:cxn>
              <a:cxn ang="0">
                <a:pos x="913" y="1043"/>
              </a:cxn>
              <a:cxn ang="0">
                <a:pos x="896" y="1119"/>
              </a:cxn>
              <a:cxn ang="0">
                <a:pos x="940" y="1178"/>
              </a:cxn>
              <a:cxn ang="0">
                <a:pos x="1017" y="1182"/>
              </a:cxn>
              <a:cxn ang="0">
                <a:pos x="1067" y="1127"/>
              </a:cxn>
              <a:cxn ang="0">
                <a:pos x="1060" y="1058"/>
              </a:cxn>
              <a:cxn ang="0">
                <a:pos x="1001" y="1014"/>
              </a:cxn>
              <a:cxn ang="0">
                <a:pos x="955" y="1112"/>
              </a:cxn>
              <a:cxn ang="0">
                <a:pos x="977" y="1072"/>
              </a:cxn>
              <a:cxn ang="0">
                <a:pos x="1012" y="1100"/>
              </a:cxn>
              <a:cxn ang="0">
                <a:pos x="982" y="1130"/>
              </a:cxn>
              <a:cxn ang="0">
                <a:pos x="920" y="701"/>
              </a:cxn>
              <a:cxn ang="0">
                <a:pos x="894" y="772"/>
              </a:cxn>
              <a:cxn ang="0">
                <a:pos x="932" y="837"/>
              </a:cxn>
              <a:cxn ang="0">
                <a:pos x="1009" y="848"/>
              </a:cxn>
              <a:cxn ang="0">
                <a:pos x="1064" y="798"/>
              </a:cxn>
              <a:cxn ang="0">
                <a:pos x="1064" y="729"/>
              </a:cxn>
              <a:cxn ang="0">
                <a:pos x="1009" y="678"/>
              </a:cxn>
              <a:cxn ang="0">
                <a:pos x="958" y="779"/>
              </a:cxn>
              <a:cxn ang="0">
                <a:pos x="971" y="736"/>
              </a:cxn>
              <a:cxn ang="0">
                <a:pos x="1012" y="758"/>
              </a:cxn>
              <a:cxn ang="0">
                <a:pos x="982" y="793"/>
              </a:cxn>
              <a:cxn ang="0">
                <a:pos x="920" y="362"/>
              </a:cxn>
              <a:cxn ang="0">
                <a:pos x="894" y="435"/>
              </a:cxn>
              <a:cxn ang="0">
                <a:pos x="932" y="500"/>
              </a:cxn>
              <a:cxn ang="0">
                <a:pos x="1009" y="511"/>
              </a:cxn>
              <a:cxn ang="0">
                <a:pos x="1064" y="461"/>
              </a:cxn>
              <a:cxn ang="0">
                <a:pos x="1064" y="391"/>
              </a:cxn>
              <a:cxn ang="0">
                <a:pos x="1009" y="341"/>
              </a:cxn>
              <a:cxn ang="0">
                <a:pos x="958" y="442"/>
              </a:cxn>
              <a:cxn ang="0">
                <a:pos x="971" y="399"/>
              </a:cxn>
              <a:cxn ang="0">
                <a:pos x="1012" y="420"/>
              </a:cxn>
              <a:cxn ang="0">
                <a:pos x="982" y="455"/>
              </a:cxn>
              <a:cxn ang="0">
                <a:pos x="1045" y="152"/>
              </a:cxn>
              <a:cxn ang="0">
                <a:pos x="1071" y="79"/>
              </a:cxn>
              <a:cxn ang="0">
                <a:pos x="1032" y="14"/>
              </a:cxn>
              <a:cxn ang="0">
                <a:pos x="956" y="4"/>
              </a:cxn>
              <a:cxn ang="0">
                <a:pos x="901" y="54"/>
              </a:cxn>
              <a:cxn ang="0">
                <a:pos x="901" y="124"/>
              </a:cxn>
              <a:cxn ang="0">
                <a:pos x="956" y="174"/>
              </a:cxn>
              <a:cxn ang="0">
                <a:pos x="1006" y="72"/>
              </a:cxn>
              <a:cxn ang="0">
                <a:pos x="994" y="116"/>
              </a:cxn>
              <a:cxn ang="0">
                <a:pos x="954" y="95"/>
              </a:cxn>
              <a:cxn ang="0">
                <a:pos x="982" y="59"/>
              </a:cxn>
              <a:cxn ang="0">
                <a:pos x="266" y="168"/>
              </a:cxn>
              <a:cxn ang="0">
                <a:pos x="298" y="237"/>
              </a:cxn>
              <a:cxn ang="0">
                <a:pos x="266" y="306"/>
              </a:cxn>
              <a:cxn ang="0">
                <a:pos x="190" y="325"/>
              </a:cxn>
              <a:cxn ang="0">
                <a:pos x="130" y="280"/>
              </a:cxn>
              <a:cxn ang="0">
                <a:pos x="123" y="211"/>
              </a:cxn>
              <a:cxn ang="0">
                <a:pos x="174" y="155"/>
              </a:cxn>
            </a:cxnLst>
            <a:rect l="0" t="0" r="r" b="b"/>
            <a:pathLst>
              <a:path w="1071" h="1189">
                <a:moveTo>
                  <a:pt x="317" y="338"/>
                </a:moveTo>
                <a:lnTo>
                  <a:pt x="327" y="329"/>
                </a:lnTo>
                <a:lnTo>
                  <a:pt x="335" y="317"/>
                </a:lnTo>
                <a:lnTo>
                  <a:pt x="341" y="306"/>
                </a:lnTo>
                <a:lnTo>
                  <a:pt x="347" y="292"/>
                </a:lnTo>
                <a:lnTo>
                  <a:pt x="351" y="280"/>
                </a:lnTo>
                <a:lnTo>
                  <a:pt x="355" y="267"/>
                </a:lnTo>
                <a:lnTo>
                  <a:pt x="356" y="252"/>
                </a:lnTo>
                <a:lnTo>
                  <a:pt x="358" y="237"/>
                </a:lnTo>
                <a:lnTo>
                  <a:pt x="356" y="222"/>
                </a:lnTo>
                <a:lnTo>
                  <a:pt x="355" y="207"/>
                </a:lnTo>
                <a:lnTo>
                  <a:pt x="351" y="194"/>
                </a:lnTo>
                <a:lnTo>
                  <a:pt x="345" y="179"/>
                </a:lnTo>
                <a:lnTo>
                  <a:pt x="340" y="167"/>
                </a:lnTo>
                <a:lnTo>
                  <a:pt x="332" y="155"/>
                </a:lnTo>
                <a:lnTo>
                  <a:pt x="324" y="143"/>
                </a:lnTo>
                <a:lnTo>
                  <a:pt x="314" y="132"/>
                </a:lnTo>
                <a:lnTo>
                  <a:pt x="304" y="122"/>
                </a:lnTo>
                <a:lnTo>
                  <a:pt x="291" y="114"/>
                </a:lnTo>
                <a:lnTo>
                  <a:pt x="279" y="106"/>
                </a:lnTo>
                <a:lnTo>
                  <a:pt x="267" y="101"/>
                </a:lnTo>
                <a:lnTo>
                  <a:pt x="252" y="95"/>
                </a:lnTo>
                <a:lnTo>
                  <a:pt x="239" y="91"/>
                </a:lnTo>
                <a:lnTo>
                  <a:pt x="224" y="90"/>
                </a:lnTo>
                <a:lnTo>
                  <a:pt x="209" y="89"/>
                </a:lnTo>
                <a:lnTo>
                  <a:pt x="193" y="90"/>
                </a:lnTo>
                <a:lnTo>
                  <a:pt x="178" y="91"/>
                </a:lnTo>
                <a:lnTo>
                  <a:pt x="165" y="95"/>
                </a:lnTo>
                <a:lnTo>
                  <a:pt x="151" y="101"/>
                </a:lnTo>
                <a:lnTo>
                  <a:pt x="138" y="106"/>
                </a:lnTo>
                <a:lnTo>
                  <a:pt x="126" y="114"/>
                </a:lnTo>
                <a:lnTo>
                  <a:pt x="113" y="122"/>
                </a:lnTo>
                <a:lnTo>
                  <a:pt x="104" y="132"/>
                </a:lnTo>
                <a:lnTo>
                  <a:pt x="93" y="143"/>
                </a:lnTo>
                <a:lnTo>
                  <a:pt x="85" y="155"/>
                </a:lnTo>
                <a:lnTo>
                  <a:pt x="78" y="167"/>
                </a:lnTo>
                <a:lnTo>
                  <a:pt x="72" y="179"/>
                </a:lnTo>
                <a:lnTo>
                  <a:pt x="66" y="194"/>
                </a:lnTo>
                <a:lnTo>
                  <a:pt x="62" y="207"/>
                </a:lnTo>
                <a:lnTo>
                  <a:pt x="61" y="222"/>
                </a:lnTo>
                <a:lnTo>
                  <a:pt x="60" y="237"/>
                </a:lnTo>
                <a:lnTo>
                  <a:pt x="60" y="237"/>
                </a:lnTo>
                <a:lnTo>
                  <a:pt x="61" y="252"/>
                </a:lnTo>
                <a:lnTo>
                  <a:pt x="62" y="267"/>
                </a:lnTo>
                <a:lnTo>
                  <a:pt x="66" y="280"/>
                </a:lnTo>
                <a:lnTo>
                  <a:pt x="70" y="292"/>
                </a:lnTo>
                <a:lnTo>
                  <a:pt x="76" y="306"/>
                </a:lnTo>
                <a:lnTo>
                  <a:pt x="82" y="317"/>
                </a:lnTo>
                <a:lnTo>
                  <a:pt x="91" y="329"/>
                </a:lnTo>
                <a:lnTo>
                  <a:pt x="100" y="338"/>
                </a:lnTo>
                <a:lnTo>
                  <a:pt x="0" y="414"/>
                </a:lnTo>
                <a:lnTo>
                  <a:pt x="0" y="833"/>
                </a:lnTo>
                <a:lnTo>
                  <a:pt x="60" y="833"/>
                </a:lnTo>
                <a:lnTo>
                  <a:pt x="60" y="1189"/>
                </a:lnTo>
                <a:lnTo>
                  <a:pt x="358" y="1189"/>
                </a:lnTo>
                <a:lnTo>
                  <a:pt x="358" y="833"/>
                </a:lnTo>
                <a:lnTo>
                  <a:pt x="418" y="833"/>
                </a:lnTo>
                <a:lnTo>
                  <a:pt x="418" y="774"/>
                </a:lnTo>
                <a:lnTo>
                  <a:pt x="60" y="774"/>
                </a:lnTo>
                <a:lnTo>
                  <a:pt x="60" y="774"/>
                </a:lnTo>
                <a:lnTo>
                  <a:pt x="60" y="774"/>
                </a:lnTo>
                <a:lnTo>
                  <a:pt x="60" y="443"/>
                </a:lnTo>
                <a:lnTo>
                  <a:pt x="135" y="387"/>
                </a:lnTo>
                <a:lnTo>
                  <a:pt x="282" y="387"/>
                </a:lnTo>
                <a:lnTo>
                  <a:pt x="358" y="443"/>
                </a:lnTo>
                <a:lnTo>
                  <a:pt x="358" y="713"/>
                </a:lnTo>
                <a:lnTo>
                  <a:pt x="417" y="713"/>
                </a:lnTo>
                <a:lnTo>
                  <a:pt x="417" y="414"/>
                </a:lnTo>
                <a:lnTo>
                  <a:pt x="317" y="338"/>
                </a:lnTo>
                <a:close/>
                <a:moveTo>
                  <a:pt x="685" y="59"/>
                </a:moveTo>
                <a:lnTo>
                  <a:pt x="626" y="59"/>
                </a:lnTo>
                <a:lnTo>
                  <a:pt x="626" y="565"/>
                </a:lnTo>
                <a:lnTo>
                  <a:pt x="476" y="565"/>
                </a:lnTo>
                <a:lnTo>
                  <a:pt x="476" y="624"/>
                </a:lnTo>
                <a:lnTo>
                  <a:pt x="626" y="624"/>
                </a:lnTo>
                <a:lnTo>
                  <a:pt x="626" y="1130"/>
                </a:lnTo>
                <a:lnTo>
                  <a:pt x="685" y="1130"/>
                </a:lnTo>
                <a:lnTo>
                  <a:pt x="685" y="1130"/>
                </a:lnTo>
                <a:lnTo>
                  <a:pt x="834" y="1130"/>
                </a:lnTo>
                <a:lnTo>
                  <a:pt x="834" y="1070"/>
                </a:lnTo>
                <a:lnTo>
                  <a:pt x="685" y="1070"/>
                </a:lnTo>
                <a:lnTo>
                  <a:pt x="685" y="793"/>
                </a:lnTo>
                <a:lnTo>
                  <a:pt x="834" y="793"/>
                </a:lnTo>
                <a:lnTo>
                  <a:pt x="834" y="733"/>
                </a:lnTo>
                <a:lnTo>
                  <a:pt x="685" y="733"/>
                </a:lnTo>
                <a:lnTo>
                  <a:pt x="685" y="455"/>
                </a:lnTo>
                <a:lnTo>
                  <a:pt x="834" y="455"/>
                </a:lnTo>
                <a:lnTo>
                  <a:pt x="834" y="396"/>
                </a:lnTo>
                <a:lnTo>
                  <a:pt x="685" y="396"/>
                </a:lnTo>
                <a:lnTo>
                  <a:pt x="685" y="118"/>
                </a:lnTo>
                <a:lnTo>
                  <a:pt x="834" y="118"/>
                </a:lnTo>
                <a:lnTo>
                  <a:pt x="834" y="59"/>
                </a:lnTo>
                <a:lnTo>
                  <a:pt x="685" y="59"/>
                </a:lnTo>
                <a:close/>
                <a:moveTo>
                  <a:pt x="298" y="1130"/>
                </a:moveTo>
                <a:lnTo>
                  <a:pt x="119" y="1130"/>
                </a:lnTo>
                <a:lnTo>
                  <a:pt x="119" y="833"/>
                </a:lnTo>
                <a:lnTo>
                  <a:pt x="298" y="833"/>
                </a:lnTo>
                <a:lnTo>
                  <a:pt x="298" y="1130"/>
                </a:lnTo>
                <a:close/>
                <a:moveTo>
                  <a:pt x="982" y="1011"/>
                </a:moveTo>
                <a:lnTo>
                  <a:pt x="974" y="1012"/>
                </a:lnTo>
                <a:lnTo>
                  <a:pt x="964" y="1014"/>
                </a:lnTo>
                <a:lnTo>
                  <a:pt x="956" y="1015"/>
                </a:lnTo>
                <a:lnTo>
                  <a:pt x="948" y="1019"/>
                </a:lnTo>
                <a:lnTo>
                  <a:pt x="940" y="1022"/>
                </a:lnTo>
                <a:lnTo>
                  <a:pt x="932" y="1027"/>
                </a:lnTo>
                <a:lnTo>
                  <a:pt x="925" y="1031"/>
                </a:lnTo>
                <a:lnTo>
                  <a:pt x="920" y="1038"/>
                </a:lnTo>
                <a:lnTo>
                  <a:pt x="913" y="1043"/>
                </a:lnTo>
                <a:lnTo>
                  <a:pt x="909" y="1050"/>
                </a:lnTo>
                <a:lnTo>
                  <a:pt x="904" y="1058"/>
                </a:lnTo>
                <a:lnTo>
                  <a:pt x="900" y="1066"/>
                </a:lnTo>
                <a:lnTo>
                  <a:pt x="897" y="1074"/>
                </a:lnTo>
                <a:lnTo>
                  <a:pt x="896" y="1083"/>
                </a:lnTo>
                <a:lnTo>
                  <a:pt x="894" y="1092"/>
                </a:lnTo>
                <a:lnTo>
                  <a:pt x="893" y="1100"/>
                </a:lnTo>
                <a:lnTo>
                  <a:pt x="894" y="1110"/>
                </a:lnTo>
                <a:lnTo>
                  <a:pt x="896" y="1119"/>
                </a:lnTo>
                <a:lnTo>
                  <a:pt x="897" y="1127"/>
                </a:lnTo>
                <a:lnTo>
                  <a:pt x="900" y="1135"/>
                </a:lnTo>
                <a:lnTo>
                  <a:pt x="904" y="1143"/>
                </a:lnTo>
                <a:lnTo>
                  <a:pt x="909" y="1150"/>
                </a:lnTo>
                <a:lnTo>
                  <a:pt x="913" y="1157"/>
                </a:lnTo>
                <a:lnTo>
                  <a:pt x="920" y="1163"/>
                </a:lnTo>
                <a:lnTo>
                  <a:pt x="925" y="1169"/>
                </a:lnTo>
                <a:lnTo>
                  <a:pt x="932" y="1174"/>
                </a:lnTo>
                <a:lnTo>
                  <a:pt x="940" y="1178"/>
                </a:lnTo>
                <a:lnTo>
                  <a:pt x="948" y="1182"/>
                </a:lnTo>
                <a:lnTo>
                  <a:pt x="956" y="1185"/>
                </a:lnTo>
                <a:lnTo>
                  <a:pt x="964" y="1188"/>
                </a:lnTo>
                <a:lnTo>
                  <a:pt x="972" y="1189"/>
                </a:lnTo>
                <a:lnTo>
                  <a:pt x="982" y="1189"/>
                </a:lnTo>
                <a:lnTo>
                  <a:pt x="991" y="1189"/>
                </a:lnTo>
                <a:lnTo>
                  <a:pt x="1001" y="1188"/>
                </a:lnTo>
                <a:lnTo>
                  <a:pt x="1009" y="1185"/>
                </a:lnTo>
                <a:lnTo>
                  <a:pt x="1017" y="1182"/>
                </a:lnTo>
                <a:lnTo>
                  <a:pt x="1025" y="1178"/>
                </a:lnTo>
                <a:lnTo>
                  <a:pt x="1032" y="1174"/>
                </a:lnTo>
                <a:lnTo>
                  <a:pt x="1039" y="1169"/>
                </a:lnTo>
                <a:lnTo>
                  <a:pt x="1045" y="1163"/>
                </a:lnTo>
                <a:lnTo>
                  <a:pt x="1051" y="1157"/>
                </a:lnTo>
                <a:lnTo>
                  <a:pt x="1056" y="1150"/>
                </a:lnTo>
                <a:lnTo>
                  <a:pt x="1060" y="1143"/>
                </a:lnTo>
                <a:lnTo>
                  <a:pt x="1064" y="1135"/>
                </a:lnTo>
                <a:lnTo>
                  <a:pt x="1067" y="1127"/>
                </a:lnTo>
                <a:lnTo>
                  <a:pt x="1070" y="1119"/>
                </a:lnTo>
                <a:lnTo>
                  <a:pt x="1071" y="1110"/>
                </a:lnTo>
                <a:lnTo>
                  <a:pt x="1071" y="1100"/>
                </a:lnTo>
                <a:lnTo>
                  <a:pt x="1071" y="1100"/>
                </a:lnTo>
                <a:lnTo>
                  <a:pt x="1071" y="1092"/>
                </a:lnTo>
                <a:lnTo>
                  <a:pt x="1070" y="1083"/>
                </a:lnTo>
                <a:lnTo>
                  <a:pt x="1067" y="1074"/>
                </a:lnTo>
                <a:lnTo>
                  <a:pt x="1064" y="1066"/>
                </a:lnTo>
                <a:lnTo>
                  <a:pt x="1060" y="1058"/>
                </a:lnTo>
                <a:lnTo>
                  <a:pt x="1056" y="1050"/>
                </a:lnTo>
                <a:lnTo>
                  <a:pt x="1051" y="1043"/>
                </a:lnTo>
                <a:lnTo>
                  <a:pt x="1045" y="1038"/>
                </a:lnTo>
                <a:lnTo>
                  <a:pt x="1039" y="1031"/>
                </a:lnTo>
                <a:lnTo>
                  <a:pt x="1032" y="1027"/>
                </a:lnTo>
                <a:lnTo>
                  <a:pt x="1025" y="1022"/>
                </a:lnTo>
                <a:lnTo>
                  <a:pt x="1017" y="1019"/>
                </a:lnTo>
                <a:lnTo>
                  <a:pt x="1009" y="1015"/>
                </a:lnTo>
                <a:lnTo>
                  <a:pt x="1001" y="1014"/>
                </a:lnTo>
                <a:lnTo>
                  <a:pt x="991" y="1012"/>
                </a:lnTo>
                <a:lnTo>
                  <a:pt x="982" y="1011"/>
                </a:lnTo>
                <a:close/>
                <a:moveTo>
                  <a:pt x="982" y="1130"/>
                </a:moveTo>
                <a:lnTo>
                  <a:pt x="977" y="1130"/>
                </a:lnTo>
                <a:lnTo>
                  <a:pt x="971" y="1127"/>
                </a:lnTo>
                <a:lnTo>
                  <a:pt x="966" y="1124"/>
                </a:lnTo>
                <a:lnTo>
                  <a:pt x="962" y="1122"/>
                </a:lnTo>
                <a:lnTo>
                  <a:pt x="958" y="1118"/>
                </a:lnTo>
                <a:lnTo>
                  <a:pt x="955" y="1112"/>
                </a:lnTo>
                <a:lnTo>
                  <a:pt x="954" y="1107"/>
                </a:lnTo>
                <a:lnTo>
                  <a:pt x="952" y="1100"/>
                </a:lnTo>
                <a:lnTo>
                  <a:pt x="954" y="1095"/>
                </a:lnTo>
                <a:lnTo>
                  <a:pt x="955" y="1089"/>
                </a:lnTo>
                <a:lnTo>
                  <a:pt x="958" y="1084"/>
                </a:lnTo>
                <a:lnTo>
                  <a:pt x="962" y="1080"/>
                </a:lnTo>
                <a:lnTo>
                  <a:pt x="966" y="1076"/>
                </a:lnTo>
                <a:lnTo>
                  <a:pt x="971" y="1073"/>
                </a:lnTo>
                <a:lnTo>
                  <a:pt x="977" y="1072"/>
                </a:lnTo>
                <a:lnTo>
                  <a:pt x="982" y="1070"/>
                </a:lnTo>
                <a:lnTo>
                  <a:pt x="989" y="1072"/>
                </a:lnTo>
                <a:lnTo>
                  <a:pt x="994" y="1073"/>
                </a:lnTo>
                <a:lnTo>
                  <a:pt x="999" y="1076"/>
                </a:lnTo>
                <a:lnTo>
                  <a:pt x="1003" y="1080"/>
                </a:lnTo>
                <a:lnTo>
                  <a:pt x="1006" y="1084"/>
                </a:lnTo>
                <a:lnTo>
                  <a:pt x="1009" y="1089"/>
                </a:lnTo>
                <a:lnTo>
                  <a:pt x="1012" y="1095"/>
                </a:lnTo>
                <a:lnTo>
                  <a:pt x="1012" y="1100"/>
                </a:lnTo>
                <a:lnTo>
                  <a:pt x="1012" y="1107"/>
                </a:lnTo>
                <a:lnTo>
                  <a:pt x="1009" y="1112"/>
                </a:lnTo>
                <a:lnTo>
                  <a:pt x="1006" y="1116"/>
                </a:lnTo>
                <a:lnTo>
                  <a:pt x="1003" y="1122"/>
                </a:lnTo>
                <a:lnTo>
                  <a:pt x="998" y="1124"/>
                </a:lnTo>
                <a:lnTo>
                  <a:pt x="994" y="1127"/>
                </a:lnTo>
                <a:lnTo>
                  <a:pt x="989" y="1130"/>
                </a:lnTo>
                <a:lnTo>
                  <a:pt x="982" y="1130"/>
                </a:lnTo>
                <a:lnTo>
                  <a:pt x="982" y="1130"/>
                </a:lnTo>
                <a:close/>
                <a:moveTo>
                  <a:pt x="982" y="674"/>
                </a:moveTo>
                <a:lnTo>
                  <a:pt x="974" y="675"/>
                </a:lnTo>
                <a:lnTo>
                  <a:pt x="964" y="677"/>
                </a:lnTo>
                <a:lnTo>
                  <a:pt x="956" y="678"/>
                </a:lnTo>
                <a:lnTo>
                  <a:pt x="948" y="681"/>
                </a:lnTo>
                <a:lnTo>
                  <a:pt x="940" y="685"/>
                </a:lnTo>
                <a:lnTo>
                  <a:pt x="932" y="690"/>
                </a:lnTo>
                <a:lnTo>
                  <a:pt x="925" y="694"/>
                </a:lnTo>
                <a:lnTo>
                  <a:pt x="920" y="701"/>
                </a:lnTo>
                <a:lnTo>
                  <a:pt x="913" y="706"/>
                </a:lnTo>
                <a:lnTo>
                  <a:pt x="909" y="713"/>
                </a:lnTo>
                <a:lnTo>
                  <a:pt x="904" y="721"/>
                </a:lnTo>
                <a:lnTo>
                  <a:pt x="900" y="729"/>
                </a:lnTo>
                <a:lnTo>
                  <a:pt x="897" y="737"/>
                </a:lnTo>
                <a:lnTo>
                  <a:pt x="896" y="745"/>
                </a:lnTo>
                <a:lnTo>
                  <a:pt x="894" y="753"/>
                </a:lnTo>
                <a:lnTo>
                  <a:pt x="893" y="763"/>
                </a:lnTo>
                <a:lnTo>
                  <a:pt x="894" y="772"/>
                </a:lnTo>
                <a:lnTo>
                  <a:pt x="896" y="782"/>
                </a:lnTo>
                <a:lnTo>
                  <a:pt x="897" y="790"/>
                </a:lnTo>
                <a:lnTo>
                  <a:pt x="900" y="798"/>
                </a:lnTo>
                <a:lnTo>
                  <a:pt x="904" y="806"/>
                </a:lnTo>
                <a:lnTo>
                  <a:pt x="909" y="813"/>
                </a:lnTo>
                <a:lnTo>
                  <a:pt x="913" y="820"/>
                </a:lnTo>
                <a:lnTo>
                  <a:pt x="920" y="826"/>
                </a:lnTo>
                <a:lnTo>
                  <a:pt x="925" y="832"/>
                </a:lnTo>
                <a:lnTo>
                  <a:pt x="932" y="837"/>
                </a:lnTo>
                <a:lnTo>
                  <a:pt x="940" y="841"/>
                </a:lnTo>
                <a:lnTo>
                  <a:pt x="948" y="845"/>
                </a:lnTo>
                <a:lnTo>
                  <a:pt x="956" y="848"/>
                </a:lnTo>
                <a:lnTo>
                  <a:pt x="964" y="851"/>
                </a:lnTo>
                <a:lnTo>
                  <a:pt x="972" y="852"/>
                </a:lnTo>
                <a:lnTo>
                  <a:pt x="982" y="852"/>
                </a:lnTo>
                <a:lnTo>
                  <a:pt x="991" y="852"/>
                </a:lnTo>
                <a:lnTo>
                  <a:pt x="1001" y="851"/>
                </a:lnTo>
                <a:lnTo>
                  <a:pt x="1009" y="848"/>
                </a:lnTo>
                <a:lnTo>
                  <a:pt x="1017" y="845"/>
                </a:lnTo>
                <a:lnTo>
                  <a:pt x="1025" y="841"/>
                </a:lnTo>
                <a:lnTo>
                  <a:pt x="1032" y="837"/>
                </a:lnTo>
                <a:lnTo>
                  <a:pt x="1039" y="832"/>
                </a:lnTo>
                <a:lnTo>
                  <a:pt x="1045" y="826"/>
                </a:lnTo>
                <a:lnTo>
                  <a:pt x="1051" y="820"/>
                </a:lnTo>
                <a:lnTo>
                  <a:pt x="1056" y="813"/>
                </a:lnTo>
                <a:lnTo>
                  <a:pt x="1060" y="806"/>
                </a:lnTo>
                <a:lnTo>
                  <a:pt x="1064" y="798"/>
                </a:lnTo>
                <a:lnTo>
                  <a:pt x="1067" y="790"/>
                </a:lnTo>
                <a:lnTo>
                  <a:pt x="1070" y="782"/>
                </a:lnTo>
                <a:lnTo>
                  <a:pt x="1071" y="772"/>
                </a:lnTo>
                <a:lnTo>
                  <a:pt x="1071" y="763"/>
                </a:lnTo>
                <a:lnTo>
                  <a:pt x="1071" y="763"/>
                </a:lnTo>
                <a:lnTo>
                  <a:pt x="1071" y="753"/>
                </a:lnTo>
                <a:lnTo>
                  <a:pt x="1070" y="745"/>
                </a:lnTo>
                <a:lnTo>
                  <a:pt x="1067" y="737"/>
                </a:lnTo>
                <a:lnTo>
                  <a:pt x="1064" y="729"/>
                </a:lnTo>
                <a:lnTo>
                  <a:pt x="1060" y="721"/>
                </a:lnTo>
                <a:lnTo>
                  <a:pt x="1056" y="713"/>
                </a:lnTo>
                <a:lnTo>
                  <a:pt x="1051" y="706"/>
                </a:lnTo>
                <a:lnTo>
                  <a:pt x="1045" y="701"/>
                </a:lnTo>
                <a:lnTo>
                  <a:pt x="1039" y="694"/>
                </a:lnTo>
                <a:lnTo>
                  <a:pt x="1032" y="690"/>
                </a:lnTo>
                <a:lnTo>
                  <a:pt x="1025" y="685"/>
                </a:lnTo>
                <a:lnTo>
                  <a:pt x="1017" y="681"/>
                </a:lnTo>
                <a:lnTo>
                  <a:pt x="1009" y="678"/>
                </a:lnTo>
                <a:lnTo>
                  <a:pt x="1001" y="677"/>
                </a:lnTo>
                <a:lnTo>
                  <a:pt x="991" y="675"/>
                </a:lnTo>
                <a:lnTo>
                  <a:pt x="982" y="674"/>
                </a:lnTo>
                <a:close/>
                <a:moveTo>
                  <a:pt x="982" y="793"/>
                </a:moveTo>
                <a:lnTo>
                  <a:pt x="977" y="793"/>
                </a:lnTo>
                <a:lnTo>
                  <a:pt x="971" y="790"/>
                </a:lnTo>
                <a:lnTo>
                  <a:pt x="966" y="787"/>
                </a:lnTo>
                <a:lnTo>
                  <a:pt x="962" y="784"/>
                </a:lnTo>
                <a:lnTo>
                  <a:pt x="958" y="779"/>
                </a:lnTo>
                <a:lnTo>
                  <a:pt x="955" y="775"/>
                </a:lnTo>
                <a:lnTo>
                  <a:pt x="954" y="770"/>
                </a:lnTo>
                <a:lnTo>
                  <a:pt x="952" y="763"/>
                </a:lnTo>
                <a:lnTo>
                  <a:pt x="954" y="758"/>
                </a:lnTo>
                <a:lnTo>
                  <a:pt x="955" y="752"/>
                </a:lnTo>
                <a:lnTo>
                  <a:pt x="958" y="747"/>
                </a:lnTo>
                <a:lnTo>
                  <a:pt x="962" y="743"/>
                </a:lnTo>
                <a:lnTo>
                  <a:pt x="966" y="739"/>
                </a:lnTo>
                <a:lnTo>
                  <a:pt x="971" y="736"/>
                </a:lnTo>
                <a:lnTo>
                  <a:pt x="977" y="735"/>
                </a:lnTo>
                <a:lnTo>
                  <a:pt x="982" y="733"/>
                </a:lnTo>
                <a:lnTo>
                  <a:pt x="989" y="735"/>
                </a:lnTo>
                <a:lnTo>
                  <a:pt x="994" y="736"/>
                </a:lnTo>
                <a:lnTo>
                  <a:pt x="999" y="739"/>
                </a:lnTo>
                <a:lnTo>
                  <a:pt x="1003" y="743"/>
                </a:lnTo>
                <a:lnTo>
                  <a:pt x="1006" y="747"/>
                </a:lnTo>
                <a:lnTo>
                  <a:pt x="1009" y="752"/>
                </a:lnTo>
                <a:lnTo>
                  <a:pt x="1012" y="758"/>
                </a:lnTo>
                <a:lnTo>
                  <a:pt x="1012" y="763"/>
                </a:lnTo>
                <a:lnTo>
                  <a:pt x="1012" y="770"/>
                </a:lnTo>
                <a:lnTo>
                  <a:pt x="1009" y="775"/>
                </a:lnTo>
                <a:lnTo>
                  <a:pt x="1006" y="779"/>
                </a:lnTo>
                <a:lnTo>
                  <a:pt x="1003" y="784"/>
                </a:lnTo>
                <a:lnTo>
                  <a:pt x="999" y="787"/>
                </a:lnTo>
                <a:lnTo>
                  <a:pt x="994" y="790"/>
                </a:lnTo>
                <a:lnTo>
                  <a:pt x="989" y="793"/>
                </a:lnTo>
                <a:lnTo>
                  <a:pt x="982" y="793"/>
                </a:lnTo>
                <a:close/>
                <a:moveTo>
                  <a:pt x="982" y="337"/>
                </a:moveTo>
                <a:lnTo>
                  <a:pt x="974" y="337"/>
                </a:lnTo>
                <a:lnTo>
                  <a:pt x="964" y="338"/>
                </a:lnTo>
                <a:lnTo>
                  <a:pt x="956" y="341"/>
                </a:lnTo>
                <a:lnTo>
                  <a:pt x="948" y="344"/>
                </a:lnTo>
                <a:lnTo>
                  <a:pt x="940" y="348"/>
                </a:lnTo>
                <a:lnTo>
                  <a:pt x="932" y="352"/>
                </a:lnTo>
                <a:lnTo>
                  <a:pt x="925" y="357"/>
                </a:lnTo>
                <a:lnTo>
                  <a:pt x="920" y="362"/>
                </a:lnTo>
                <a:lnTo>
                  <a:pt x="913" y="369"/>
                </a:lnTo>
                <a:lnTo>
                  <a:pt x="909" y="376"/>
                </a:lnTo>
                <a:lnTo>
                  <a:pt x="904" y="384"/>
                </a:lnTo>
                <a:lnTo>
                  <a:pt x="900" y="391"/>
                </a:lnTo>
                <a:lnTo>
                  <a:pt x="897" y="399"/>
                </a:lnTo>
                <a:lnTo>
                  <a:pt x="896" y="408"/>
                </a:lnTo>
                <a:lnTo>
                  <a:pt x="894" y="416"/>
                </a:lnTo>
                <a:lnTo>
                  <a:pt x="893" y="426"/>
                </a:lnTo>
                <a:lnTo>
                  <a:pt x="894" y="435"/>
                </a:lnTo>
                <a:lnTo>
                  <a:pt x="896" y="443"/>
                </a:lnTo>
                <a:lnTo>
                  <a:pt x="897" y="453"/>
                </a:lnTo>
                <a:lnTo>
                  <a:pt x="900" y="461"/>
                </a:lnTo>
                <a:lnTo>
                  <a:pt x="904" y="469"/>
                </a:lnTo>
                <a:lnTo>
                  <a:pt x="909" y="476"/>
                </a:lnTo>
                <a:lnTo>
                  <a:pt x="913" y="482"/>
                </a:lnTo>
                <a:lnTo>
                  <a:pt x="920" y="489"/>
                </a:lnTo>
                <a:lnTo>
                  <a:pt x="925" y="495"/>
                </a:lnTo>
                <a:lnTo>
                  <a:pt x="932" y="500"/>
                </a:lnTo>
                <a:lnTo>
                  <a:pt x="940" y="504"/>
                </a:lnTo>
                <a:lnTo>
                  <a:pt x="948" y="508"/>
                </a:lnTo>
                <a:lnTo>
                  <a:pt x="956" y="511"/>
                </a:lnTo>
                <a:lnTo>
                  <a:pt x="964" y="513"/>
                </a:lnTo>
                <a:lnTo>
                  <a:pt x="972" y="515"/>
                </a:lnTo>
                <a:lnTo>
                  <a:pt x="982" y="515"/>
                </a:lnTo>
                <a:lnTo>
                  <a:pt x="991" y="515"/>
                </a:lnTo>
                <a:lnTo>
                  <a:pt x="1001" y="513"/>
                </a:lnTo>
                <a:lnTo>
                  <a:pt x="1009" y="511"/>
                </a:lnTo>
                <a:lnTo>
                  <a:pt x="1017" y="508"/>
                </a:lnTo>
                <a:lnTo>
                  <a:pt x="1025" y="504"/>
                </a:lnTo>
                <a:lnTo>
                  <a:pt x="1032" y="500"/>
                </a:lnTo>
                <a:lnTo>
                  <a:pt x="1039" y="495"/>
                </a:lnTo>
                <a:lnTo>
                  <a:pt x="1045" y="489"/>
                </a:lnTo>
                <a:lnTo>
                  <a:pt x="1051" y="482"/>
                </a:lnTo>
                <a:lnTo>
                  <a:pt x="1056" y="476"/>
                </a:lnTo>
                <a:lnTo>
                  <a:pt x="1060" y="469"/>
                </a:lnTo>
                <a:lnTo>
                  <a:pt x="1064" y="461"/>
                </a:lnTo>
                <a:lnTo>
                  <a:pt x="1067" y="453"/>
                </a:lnTo>
                <a:lnTo>
                  <a:pt x="1070" y="443"/>
                </a:lnTo>
                <a:lnTo>
                  <a:pt x="1071" y="435"/>
                </a:lnTo>
                <a:lnTo>
                  <a:pt x="1071" y="426"/>
                </a:lnTo>
                <a:lnTo>
                  <a:pt x="1071" y="426"/>
                </a:lnTo>
                <a:lnTo>
                  <a:pt x="1071" y="416"/>
                </a:lnTo>
                <a:lnTo>
                  <a:pt x="1070" y="408"/>
                </a:lnTo>
                <a:lnTo>
                  <a:pt x="1067" y="400"/>
                </a:lnTo>
                <a:lnTo>
                  <a:pt x="1064" y="391"/>
                </a:lnTo>
                <a:lnTo>
                  <a:pt x="1060" y="384"/>
                </a:lnTo>
                <a:lnTo>
                  <a:pt x="1056" y="376"/>
                </a:lnTo>
                <a:lnTo>
                  <a:pt x="1051" y="369"/>
                </a:lnTo>
                <a:lnTo>
                  <a:pt x="1045" y="364"/>
                </a:lnTo>
                <a:lnTo>
                  <a:pt x="1039" y="357"/>
                </a:lnTo>
                <a:lnTo>
                  <a:pt x="1032" y="352"/>
                </a:lnTo>
                <a:lnTo>
                  <a:pt x="1025" y="348"/>
                </a:lnTo>
                <a:lnTo>
                  <a:pt x="1017" y="344"/>
                </a:lnTo>
                <a:lnTo>
                  <a:pt x="1009" y="341"/>
                </a:lnTo>
                <a:lnTo>
                  <a:pt x="1001" y="339"/>
                </a:lnTo>
                <a:lnTo>
                  <a:pt x="991" y="338"/>
                </a:lnTo>
                <a:lnTo>
                  <a:pt x="982" y="337"/>
                </a:lnTo>
                <a:close/>
                <a:moveTo>
                  <a:pt x="982" y="455"/>
                </a:moveTo>
                <a:lnTo>
                  <a:pt x="977" y="455"/>
                </a:lnTo>
                <a:lnTo>
                  <a:pt x="971" y="453"/>
                </a:lnTo>
                <a:lnTo>
                  <a:pt x="966" y="450"/>
                </a:lnTo>
                <a:lnTo>
                  <a:pt x="962" y="447"/>
                </a:lnTo>
                <a:lnTo>
                  <a:pt x="958" y="442"/>
                </a:lnTo>
                <a:lnTo>
                  <a:pt x="955" y="438"/>
                </a:lnTo>
                <a:lnTo>
                  <a:pt x="954" y="431"/>
                </a:lnTo>
                <a:lnTo>
                  <a:pt x="952" y="426"/>
                </a:lnTo>
                <a:lnTo>
                  <a:pt x="954" y="420"/>
                </a:lnTo>
                <a:lnTo>
                  <a:pt x="955" y="415"/>
                </a:lnTo>
                <a:lnTo>
                  <a:pt x="958" y="410"/>
                </a:lnTo>
                <a:lnTo>
                  <a:pt x="962" y="406"/>
                </a:lnTo>
                <a:lnTo>
                  <a:pt x="966" y="401"/>
                </a:lnTo>
                <a:lnTo>
                  <a:pt x="971" y="399"/>
                </a:lnTo>
                <a:lnTo>
                  <a:pt x="977" y="397"/>
                </a:lnTo>
                <a:lnTo>
                  <a:pt x="982" y="396"/>
                </a:lnTo>
                <a:lnTo>
                  <a:pt x="989" y="397"/>
                </a:lnTo>
                <a:lnTo>
                  <a:pt x="994" y="399"/>
                </a:lnTo>
                <a:lnTo>
                  <a:pt x="999" y="401"/>
                </a:lnTo>
                <a:lnTo>
                  <a:pt x="1003" y="406"/>
                </a:lnTo>
                <a:lnTo>
                  <a:pt x="1006" y="410"/>
                </a:lnTo>
                <a:lnTo>
                  <a:pt x="1009" y="415"/>
                </a:lnTo>
                <a:lnTo>
                  <a:pt x="1012" y="420"/>
                </a:lnTo>
                <a:lnTo>
                  <a:pt x="1012" y="426"/>
                </a:lnTo>
                <a:lnTo>
                  <a:pt x="1012" y="431"/>
                </a:lnTo>
                <a:lnTo>
                  <a:pt x="1009" y="438"/>
                </a:lnTo>
                <a:lnTo>
                  <a:pt x="1006" y="442"/>
                </a:lnTo>
                <a:lnTo>
                  <a:pt x="1003" y="447"/>
                </a:lnTo>
                <a:lnTo>
                  <a:pt x="999" y="450"/>
                </a:lnTo>
                <a:lnTo>
                  <a:pt x="994" y="453"/>
                </a:lnTo>
                <a:lnTo>
                  <a:pt x="989" y="455"/>
                </a:lnTo>
                <a:lnTo>
                  <a:pt x="982" y="455"/>
                </a:lnTo>
                <a:close/>
                <a:moveTo>
                  <a:pt x="982" y="178"/>
                </a:moveTo>
                <a:lnTo>
                  <a:pt x="991" y="178"/>
                </a:lnTo>
                <a:lnTo>
                  <a:pt x="1001" y="176"/>
                </a:lnTo>
                <a:lnTo>
                  <a:pt x="1009" y="174"/>
                </a:lnTo>
                <a:lnTo>
                  <a:pt x="1017" y="171"/>
                </a:lnTo>
                <a:lnTo>
                  <a:pt x="1025" y="167"/>
                </a:lnTo>
                <a:lnTo>
                  <a:pt x="1032" y="163"/>
                </a:lnTo>
                <a:lnTo>
                  <a:pt x="1039" y="157"/>
                </a:lnTo>
                <a:lnTo>
                  <a:pt x="1045" y="152"/>
                </a:lnTo>
                <a:lnTo>
                  <a:pt x="1051" y="145"/>
                </a:lnTo>
                <a:lnTo>
                  <a:pt x="1056" y="139"/>
                </a:lnTo>
                <a:lnTo>
                  <a:pt x="1060" y="132"/>
                </a:lnTo>
                <a:lnTo>
                  <a:pt x="1064" y="124"/>
                </a:lnTo>
                <a:lnTo>
                  <a:pt x="1067" y="116"/>
                </a:lnTo>
                <a:lnTo>
                  <a:pt x="1070" y="106"/>
                </a:lnTo>
                <a:lnTo>
                  <a:pt x="1071" y="98"/>
                </a:lnTo>
                <a:lnTo>
                  <a:pt x="1071" y="89"/>
                </a:lnTo>
                <a:lnTo>
                  <a:pt x="1071" y="79"/>
                </a:lnTo>
                <a:lnTo>
                  <a:pt x="1070" y="71"/>
                </a:lnTo>
                <a:lnTo>
                  <a:pt x="1067" y="63"/>
                </a:lnTo>
                <a:lnTo>
                  <a:pt x="1064" y="54"/>
                </a:lnTo>
                <a:lnTo>
                  <a:pt x="1060" y="47"/>
                </a:lnTo>
                <a:lnTo>
                  <a:pt x="1056" y="39"/>
                </a:lnTo>
                <a:lnTo>
                  <a:pt x="1051" y="32"/>
                </a:lnTo>
                <a:lnTo>
                  <a:pt x="1045" y="25"/>
                </a:lnTo>
                <a:lnTo>
                  <a:pt x="1039" y="20"/>
                </a:lnTo>
                <a:lnTo>
                  <a:pt x="1032" y="14"/>
                </a:lnTo>
                <a:lnTo>
                  <a:pt x="1025" y="10"/>
                </a:lnTo>
                <a:lnTo>
                  <a:pt x="1017" y="6"/>
                </a:lnTo>
                <a:lnTo>
                  <a:pt x="1009" y="4"/>
                </a:lnTo>
                <a:lnTo>
                  <a:pt x="1001" y="1"/>
                </a:lnTo>
                <a:lnTo>
                  <a:pt x="991" y="0"/>
                </a:lnTo>
                <a:lnTo>
                  <a:pt x="982" y="0"/>
                </a:lnTo>
                <a:lnTo>
                  <a:pt x="974" y="0"/>
                </a:lnTo>
                <a:lnTo>
                  <a:pt x="964" y="1"/>
                </a:lnTo>
                <a:lnTo>
                  <a:pt x="956" y="4"/>
                </a:lnTo>
                <a:lnTo>
                  <a:pt x="948" y="6"/>
                </a:lnTo>
                <a:lnTo>
                  <a:pt x="940" y="10"/>
                </a:lnTo>
                <a:lnTo>
                  <a:pt x="933" y="14"/>
                </a:lnTo>
                <a:lnTo>
                  <a:pt x="925" y="20"/>
                </a:lnTo>
                <a:lnTo>
                  <a:pt x="920" y="25"/>
                </a:lnTo>
                <a:lnTo>
                  <a:pt x="913" y="32"/>
                </a:lnTo>
                <a:lnTo>
                  <a:pt x="909" y="39"/>
                </a:lnTo>
                <a:lnTo>
                  <a:pt x="904" y="47"/>
                </a:lnTo>
                <a:lnTo>
                  <a:pt x="901" y="54"/>
                </a:lnTo>
                <a:lnTo>
                  <a:pt x="897" y="62"/>
                </a:lnTo>
                <a:lnTo>
                  <a:pt x="896" y="71"/>
                </a:lnTo>
                <a:lnTo>
                  <a:pt x="894" y="79"/>
                </a:lnTo>
                <a:lnTo>
                  <a:pt x="893" y="89"/>
                </a:lnTo>
                <a:lnTo>
                  <a:pt x="893" y="89"/>
                </a:lnTo>
                <a:lnTo>
                  <a:pt x="894" y="98"/>
                </a:lnTo>
                <a:lnTo>
                  <a:pt x="896" y="106"/>
                </a:lnTo>
                <a:lnTo>
                  <a:pt x="897" y="116"/>
                </a:lnTo>
                <a:lnTo>
                  <a:pt x="901" y="124"/>
                </a:lnTo>
                <a:lnTo>
                  <a:pt x="904" y="132"/>
                </a:lnTo>
                <a:lnTo>
                  <a:pt x="909" y="139"/>
                </a:lnTo>
                <a:lnTo>
                  <a:pt x="913" y="145"/>
                </a:lnTo>
                <a:lnTo>
                  <a:pt x="920" y="152"/>
                </a:lnTo>
                <a:lnTo>
                  <a:pt x="925" y="157"/>
                </a:lnTo>
                <a:lnTo>
                  <a:pt x="932" y="163"/>
                </a:lnTo>
                <a:lnTo>
                  <a:pt x="940" y="167"/>
                </a:lnTo>
                <a:lnTo>
                  <a:pt x="948" y="171"/>
                </a:lnTo>
                <a:lnTo>
                  <a:pt x="956" y="174"/>
                </a:lnTo>
                <a:lnTo>
                  <a:pt x="964" y="176"/>
                </a:lnTo>
                <a:lnTo>
                  <a:pt x="974" y="178"/>
                </a:lnTo>
                <a:lnTo>
                  <a:pt x="982" y="178"/>
                </a:lnTo>
                <a:close/>
                <a:moveTo>
                  <a:pt x="982" y="59"/>
                </a:moveTo>
                <a:lnTo>
                  <a:pt x="989" y="60"/>
                </a:lnTo>
                <a:lnTo>
                  <a:pt x="994" y="62"/>
                </a:lnTo>
                <a:lnTo>
                  <a:pt x="999" y="64"/>
                </a:lnTo>
                <a:lnTo>
                  <a:pt x="1003" y="68"/>
                </a:lnTo>
                <a:lnTo>
                  <a:pt x="1006" y="72"/>
                </a:lnTo>
                <a:lnTo>
                  <a:pt x="1009" y="78"/>
                </a:lnTo>
                <a:lnTo>
                  <a:pt x="1012" y="83"/>
                </a:lnTo>
                <a:lnTo>
                  <a:pt x="1012" y="89"/>
                </a:lnTo>
                <a:lnTo>
                  <a:pt x="1012" y="95"/>
                </a:lnTo>
                <a:lnTo>
                  <a:pt x="1009" y="101"/>
                </a:lnTo>
                <a:lnTo>
                  <a:pt x="1006" y="105"/>
                </a:lnTo>
                <a:lnTo>
                  <a:pt x="1003" y="110"/>
                </a:lnTo>
                <a:lnTo>
                  <a:pt x="999" y="113"/>
                </a:lnTo>
                <a:lnTo>
                  <a:pt x="994" y="116"/>
                </a:lnTo>
                <a:lnTo>
                  <a:pt x="989" y="118"/>
                </a:lnTo>
                <a:lnTo>
                  <a:pt x="982" y="118"/>
                </a:lnTo>
                <a:lnTo>
                  <a:pt x="977" y="118"/>
                </a:lnTo>
                <a:lnTo>
                  <a:pt x="971" y="116"/>
                </a:lnTo>
                <a:lnTo>
                  <a:pt x="966" y="113"/>
                </a:lnTo>
                <a:lnTo>
                  <a:pt x="962" y="110"/>
                </a:lnTo>
                <a:lnTo>
                  <a:pt x="958" y="105"/>
                </a:lnTo>
                <a:lnTo>
                  <a:pt x="955" y="101"/>
                </a:lnTo>
                <a:lnTo>
                  <a:pt x="954" y="95"/>
                </a:lnTo>
                <a:lnTo>
                  <a:pt x="952" y="89"/>
                </a:lnTo>
                <a:lnTo>
                  <a:pt x="954" y="83"/>
                </a:lnTo>
                <a:lnTo>
                  <a:pt x="955" y="78"/>
                </a:lnTo>
                <a:lnTo>
                  <a:pt x="958" y="72"/>
                </a:lnTo>
                <a:lnTo>
                  <a:pt x="962" y="68"/>
                </a:lnTo>
                <a:lnTo>
                  <a:pt x="966" y="64"/>
                </a:lnTo>
                <a:lnTo>
                  <a:pt x="971" y="62"/>
                </a:lnTo>
                <a:lnTo>
                  <a:pt x="977" y="60"/>
                </a:lnTo>
                <a:lnTo>
                  <a:pt x="982" y="59"/>
                </a:lnTo>
                <a:lnTo>
                  <a:pt x="982" y="59"/>
                </a:lnTo>
                <a:close/>
                <a:moveTo>
                  <a:pt x="209" y="148"/>
                </a:moveTo>
                <a:lnTo>
                  <a:pt x="217" y="149"/>
                </a:lnTo>
                <a:lnTo>
                  <a:pt x="227" y="151"/>
                </a:lnTo>
                <a:lnTo>
                  <a:pt x="235" y="152"/>
                </a:lnTo>
                <a:lnTo>
                  <a:pt x="243" y="155"/>
                </a:lnTo>
                <a:lnTo>
                  <a:pt x="251" y="159"/>
                </a:lnTo>
                <a:lnTo>
                  <a:pt x="259" y="163"/>
                </a:lnTo>
                <a:lnTo>
                  <a:pt x="266" y="168"/>
                </a:lnTo>
                <a:lnTo>
                  <a:pt x="271" y="175"/>
                </a:lnTo>
                <a:lnTo>
                  <a:pt x="278" y="180"/>
                </a:lnTo>
                <a:lnTo>
                  <a:pt x="282" y="187"/>
                </a:lnTo>
                <a:lnTo>
                  <a:pt x="287" y="195"/>
                </a:lnTo>
                <a:lnTo>
                  <a:pt x="291" y="203"/>
                </a:lnTo>
                <a:lnTo>
                  <a:pt x="294" y="211"/>
                </a:lnTo>
                <a:lnTo>
                  <a:pt x="296" y="219"/>
                </a:lnTo>
                <a:lnTo>
                  <a:pt x="297" y="229"/>
                </a:lnTo>
                <a:lnTo>
                  <a:pt x="298" y="237"/>
                </a:lnTo>
                <a:lnTo>
                  <a:pt x="297" y="246"/>
                </a:lnTo>
                <a:lnTo>
                  <a:pt x="296" y="256"/>
                </a:lnTo>
                <a:lnTo>
                  <a:pt x="294" y="264"/>
                </a:lnTo>
                <a:lnTo>
                  <a:pt x="291" y="272"/>
                </a:lnTo>
                <a:lnTo>
                  <a:pt x="287" y="280"/>
                </a:lnTo>
                <a:lnTo>
                  <a:pt x="282" y="287"/>
                </a:lnTo>
                <a:lnTo>
                  <a:pt x="278" y="294"/>
                </a:lnTo>
                <a:lnTo>
                  <a:pt x="271" y="300"/>
                </a:lnTo>
                <a:lnTo>
                  <a:pt x="266" y="306"/>
                </a:lnTo>
                <a:lnTo>
                  <a:pt x="259" y="311"/>
                </a:lnTo>
                <a:lnTo>
                  <a:pt x="251" y="317"/>
                </a:lnTo>
                <a:lnTo>
                  <a:pt x="243" y="319"/>
                </a:lnTo>
                <a:lnTo>
                  <a:pt x="235" y="323"/>
                </a:lnTo>
                <a:lnTo>
                  <a:pt x="227" y="325"/>
                </a:lnTo>
                <a:lnTo>
                  <a:pt x="217" y="326"/>
                </a:lnTo>
                <a:lnTo>
                  <a:pt x="209" y="327"/>
                </a:lnTo>
                <a:lnTo>
                  <a:pt x="200" y="326"/>
                </a:lnTo>
                <a:lnTo>
                  <a:pt x="190" y="325"/>
                </a:lnTo>
                <a:lnTo>
                  <a:pt x="182" y="323"/>
                </a:lnTo>
                <a:lnTo>
                  <a:pt x="174" y="319"/>
                </a:lnTo>
                <a:lnTo>
                  <a:pt x="166" y="317"/>
                </a:lnTo>
                <a:lnTo>
                  <a:pt x="159" y="311"/>
                </a:lnTo>
                <a:lnTo>
                  <a:pt x="151" y="306"/>
                </a:lnTo>
                <a:lnTo>
                  <a:pt x="146" y="300"/>
                </a:lnTo>
                <a:lnTo>
                  <a:pt x="140" y="295"/>
                </a:lnTo>
                <a:lnTo>
                  <a:pt x="135" y="287"/>
                </a:lnTo>
                <a:lnTo>
                  <a:pt x="130" y="280"/>
                </a:lnTo>
                <a:lnTo>
                  <a:pt x="127" y="272"/>
                </a:lnTo>
                <a:lnTo>
                  <a:pt x="123" y="264"/>
                </a:lnTo>
                <a:lnTo>
                  <a:pt x="122" y="256"/>
                </a:lnTo>
                <a:lnTo>
                  <a:pt x="120" y="246"/>
                </a:lnTo>
                <a:lnTo>
                  <a:pt x="119" y="237"/>
                </a:lnTo>
                <a:lnTo>
                  <a:pt x="119" y="237"/>
                </a:lnTo>
                <a:lnTo>
                  <a:pt x="120" y="229"/>
                </a:lnTo>
                <a:lnTo>
                  <a:pt x="122" y="219"/>
                </a:lnTo>
                <a:lnTo>
                  <a:pt x="123" y="211"/>
                </a:lnTo>
                <a:lnTo>
                  <a:pt x="127" y="203"/>
                </a:lnTo>
                <a:lnTo>
                  <a:pt x="130" y="195"/>
                </a:lnTo>
                <a:lnTo>
                  <a:pt x="135" y="187"/>
                </a:lnTo>
                <a:lnTo>
                  <a:pt x="140" y="180"/>
                </a:lnTo>
                <a:lnTo>
                  <a:pt x="146" y="175"/>
                </a:lnTo>
                <a:lnTo>
                  <a:pt x="151" y="168"/>
                </a:lnTo>
                <a:lnTo>
                  <a:pt x="159" y="164"/>
                </a:lnTo>
                <a:lnTo>
                  <a:pt x="166" y="159"/>
                </a:lnTo>
                <a:lnTo>
                  <a:pt x="174" y="155"/>
                </a:lnTo>
                <a:lnTo>
                  <a:pt x="182" y="152"/>
                </a:lnTo>
                <a:lnTo>
                  <a:pt x="190" y="151"/>
                </a:lnTo>
                <a:lnTo>
                  <a:pt x="200" y="149"/>
                </a:lnTo>
                <a:lnTo>
                  <a:pt x="209" y="148"/>
                </a:lnTo>
                <a:close/>
              </a:path>
            </a:pathLst>
          </a:custGeom>
          <a:solidFill>
            <a:srgbClr val="FEFEF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Freeform 254"/>
          <p:cNvSpPr>
            <a:spLocks noEditPoints="1"/>
          </p:cNvSpPr>
          <p:nvPr/>
        </p:nvSpPr>
        <p:spPr bwMode="auto">
          <a:xfrm>
            <a:off x="6680849" y="1189068"/>
            <a:ext cx="631825" cy="638175"/>
          </a:xfrm>
          <a:custGeom>
            <a:avLst/>
            <a:gdLst/>
            <a:ahLst/>
            <a:cxnLst>
              <a:cxn ang="0">
                <a:pos x="418" y="428"/>
              </a:cxn>
              <a:cxn ang="0">
                <a:pos x="390" y="464"/>
              </a:cxn>
              <a:cxn ang="0">
                <a:pos x="369" y="505"/>
              </a:cxn>
              <a:cxn ang="0">
                <a:pos x="352" y="563"/>
              </a:cxn>
              <a:cxn ang="0">
                <a:pos x="396" y="598"/>
              </a:cxn>
              <a:cxn ang="0">
                <a:pos x="380" y="625"/>
              </a:cxn>
              <a:cxn ang="0">
                <a:pos x="364" y="676"/>
              </a:cxn>
              <a:cxn ang="0">
                <a:pos x="384" y="720"/>
              </a:cxn>
              <a:cxn ang="0">
                <a:pos x="411" y="759"/>
              </a:cxn>
              <a:cxn ang="0">
                <a:pos x="478" y="759"/>
              </a:cxn>
              <a:cxn ang="0">
                <a:pos x="505" y="828"/>
              </a:cxn>
              <a:cxn ang="0">
                <a:pos x="565" y="842"/>
              </a:cxn>
              <a:cxn ang="0">
                <a:pos x="614" y="843"/>
              </a:cxn>
              <a:cxn ang="0">
                <a:pos x="661" y="835"/>
              </a:cxn>
              <a:cxn ang="0">
                <a:pos x="697" y="771"/>
              </a:cxn>
              <a:cxn ang="0">
                <a:pos x="716" y="1000"/>
              </a:cxn>
              <a:cxn ang="0">
                <a:pos x="179" y="1000"/>
              </a:cxn>
              <a:cxn ang="0">
                <a:pos x="300" y="522"/>
              </a:cxn>
              <a:cxn ang="0">
                <a:pos x="0" y="1059"/>
              </a:cxn>
              <a:cxn ang="0">
                <a:pos x="337" y="1061"/>
              </a:cxn>
              <a:cxn ang="0">
                <a:pos x="786" y="755"/>
              </a:cxn>
              <a:cxn ang="0">
                <a:pos x="812" y="717"/>
              </a:cxn>
              <a:cxn ang="0">
                <a:pos x="831" y="676"/>
              </a:cxn>
              <a:cxn ang="0">
                <a:pos x="813" y="625"/>
              </a:cxn>
              <a:cxn ang="0">
                <a:pos x="798" y="597"/>
              </a:cxn>
              <a:cxn ang="0">
                <a:pos x="1075" y="597"/>
              </a:cxn>
              <a:cxn ang="0">
                <a:pos x="538" y="239"/>
              </a:cxn>
              <a:cxn ang="0">
                <a:pos x="538" y="299"/>
              </a:cxn>
              <a:cxn ang="0">
                <a:pos x="1075" y="119"/>
              </a:cxn>
              <a:cxn ang="0">
                <a:pos x="538" y="119"/>
              </a:cxn>
              <a:cxn ang="0">
                <a:pos x="668" y="720"/>
              </a:cxn>
              <a:cxn ang="0">
                <a:pos x="603" y="741"/>
              </a:cxn>
              <a:cxn ang="0">
                <a:pos x="598" y="783"/>
              </a:cxn>
              <a:cxn ang="0">
                <a:pos x="561" y="733"/>
              </a:cxn>
              <a:cxn ang="0">
                <a:pos x="511" y="709"/>
              </a:cxn>
              <a:cxn ang="0">
                <a:pos x="446" y="706"/>
              </a:cxn>
              <a:cxn ang="0">
                <a:pos x="440" y="671"/>
              </a:cxn>
              <a:cxn ang="0">
                <a:pos x="457" y="616"/>
              </a:cxn>
              <a:cxn ang="0">
                <a:pos x="461" y="561"/>
              </a:cxn>
              <a:cxn ang="0">
                <a:pos x="436" y="505"/>
              </a:cxn>
              <a:cxn ang="0">
                <a:pos x="476" y="518"/>
              </a:cxn>
              <a:cxn ang="0">
                <a:pos x="526" y="475"/>
              </a:cxn>
              <a:cxn ang="0">
                <a:pos x="590" y="453"/>
              </a:cxn>
              <a:cxn ang="0">
                <a:pos x="615" y="411"/>
              </a:cxn>
              <a:cxn ang="0">
                <a:pos x="651" y="467"/>
              </a:cxn>
              <a:cxn ang="0">
                <a:pos x="697" y="498"/>
              </a:cxn>
              <a:cxn ang="0">
                <a:pos x="759" y="503"/>
              </a:cxn>
              <a:cxn ang="0">
                <a:pos x="725" y="532"/>
              </a:cxn>
              <a:cxn ang="0">
                <a:pos x="739" y="593"/>
              </a:cxn>
              <a:cxn ang="0">
                <a:pos x="726" y="663"/>
              </a:cxn>
              <a:cxn ang="0">
                <a:pos x="759" y="690"/>
              </a:cxn>
              <a:cxn ang="0">
                <a:pos x="697" y="697"/>
              </a:cxn>
              <a:cxn ang="0">
                <a:pos x="1016" y="630"/>
              </a:cxn>
              <a:cxn ang="0">
                <a:pos x="835" y="533"/>
              </a:cxn>
              <a:cxn ang="0">
                <a:pos x="818" y="487"/>
              </a:cxn>
              <a:cxn ang="0">
                <a:pos x="793" y="446"/>
              </a:cxn>
              <a:cxn ang="0">
                <a:pos x="749" y="400"/>
              </a:cxn>
              <a:cxn ang="0">
                <a:pos x="676" y="413"/>
              </a:cxn>
              <a:cxn ang="0">
                <a:pos x="645" y="356"/>
              </a:cxn>
              <a:cxn ang="0">
                <a:pos x="599" y="350"/>
              </a:cxn>
              <a:cxn ang="0">
                <a:pos x="552" y="354"/>
              </a:cxn>
              <a:cxn ang="0">
                <a:pos x="517" y="413"/>
              </a:cxn>
              <a:cxn ang="0">
                <a:pos x="478" y="60"/>
              </a:cxn>
            </a:cxnLst>
            <a:rect l="0" t="0" r="r" b="b"/>
            <a:pathLst>
              <a:path w="1193" h="1206">
                <a:moveTo>
                  <a:pt x="1193" y="0"/>
                </a:moveTo>
                <a:lnTo>
                  <a:pt x="418" y="0"/>
                </a:lnTo>
                <a:lnTo>
                  <a:pt x="418" y="428"/>
                </a:lnTo>
                <a:lnTo>
                  <a:pt x="409" y="440"/>
                </a:lnTo>
                <a:lnTo>
                  <a:pt x="399" y="452"/>
                </a:lnTo>
                <a:lnTo>
                  <a:pt x="390" y="464"/>
                </a:lnTo>
                <a:lnTo>
                  <a:pt x="382" y="478"/>
                </a:lnTo>
                <a:lnTo>
                  <a:pt x="375" y="491"/>
                </a:lnTo>
                <a:lnTo>
                  <a:pt x="369" y="505"/>
                </a:lnTo>
                <a:lnTo>
                  <a:pt x="364" y="520"/>
                </a:lnTo>
                <a:lnTo>
                  <a:pt x="359" y="533"/>
                </a:lnTo>
                <a:lnTo>
                  <a:pt x="352" y="563"/>
                </a:lnTo>
                <a:lnTo>
                  <a:pt x="398" y="575"/>
                </a:lnTo>
                <a:lnTo>
                  <a:pt x="396" y="586"/>
                </a:lnTo>
                <a:lnTo>
                  <a:pt x="396" y="598"/>
                </a:lnTo>
                <a:lnTo>
                  <a:pt x="396" y="609"/>
                </a:lnTo>
                <a:lnTo>
                  <a:pt x="398" y="620"/>
                </a:lnTo>
                <a:lnTo>
                  <a:pt x="380" y="625"/>
                </a:lnTo>
                <a:lnTo>
                  <a:pt x="352" y="632"/>
                </a:lnTo>
                <a:lnTo>
                  <a:pt x="359" y="662"/>
                </a:lnTo>
                <a:lnTo>
                  <a:pt x="364" y="676"/>
                </a:lnTo>
                <a:lnTo>
                  <a:pt x="369" y="691"/>
                </a:lnTo>
                <a:lnTo>
                  <a:pt x="376" y="706"/>
                </a:lnTo>
                <a:lnTo>
                  <a:pt x="384" y="720"/>
                </a:lnTo>
                <a:lnTo>
                  <a:pt x="392" y="733"/>
                </a:lnTo>
                <a:lnTo>
                  <a:pt x="402" y="747"/>
                </a:lnTo>
                <a:lnTo>
                  <a:pt x="411" y="759"/>
                </a:lnTo>
                <a:lnTo>
                  <a:pt x="422" y="771"/>
                </a:lnTo>
                <a:lnTo>
                  <a:pt x="445" y="791"/>
                </a:lnTo>
                <a:lnTo>
                  <a:pt x="478" y="759"/>
                </a:lnTo>
                <a:lnTo>
                  <a:pt x="496" y="771"/>
                </a:lnTo>
                <a:lnTo>
                  <a:pt x="517" y="781"/>
                </a:lnTo>
                <a:lnTo>
                  <a:pt x="505" y="828"/>
                </a:lnTo>
                <a:lnTo>
                  <a:pt x="534" y="835"/>
                </a:lnTo>
                <a:lnTo>
                  <a:pt x="549" y="839"/>
                </a:lnTo>
                <a:lnTo>
                  <a:pt x="565" y="842"/>
                </a:lnTo>
                <a:lnTo>
                  <a:pt x="582" y="843"/>
                </a:lnTo>
                <a:lnTo>
                  <a:pt x="598" y="844"/>
                </a:lnTo>
                <a:lnTo>
                  <a:pt x="614" y="843"/>
                </a:lnTo>
                <a:lnTo>
                  <a:pt x="629" y="842"/>
                </a:lnTo>
                <a:lnTo>
                  <a:pt x="645" y="839"/>
                </a:lnTo>
                <a:lnTo>
                  <a:pt x="661" y="835"/>
                </a:lnTo>
                <a:lnTo>
                  <a:pt x="690" y="827"/>
                </a:lnTo>
                <a:lnTo>
                  <a:pt x="678" y="781"/>
                </a:lnTo>
                <a:lnTo>
                  <a:pt x="697" y="771"/>
                </a:lnTo>
                <a:lnTo>
                  <a:pt x="716" y="759"/>
                </a:lnTo>
                <a:lnTo>
                  <a:pt x="716" y="759"/>
                </a:lnTo>
                <a:lnTo>
                  <a:pt x="716" y="1000"/>
                </a:lnTo>
                <a:lnTo>
                  <a:pt x="319" y="1001"/>
                </a:lnTo>
                <a:lnTo>
                  <a:pt x="179" y="1093"/>
                </a:lnTo>
                <a:lnTo>
                  <a:pt x="179" y="1000"/>
                </a:lnTo>
                <a:lnTo>
                  <a:pt x="60" y="1000"/>
                </a:lnTo>
                <a:lnTo>
                  <a:pt x="60" y="522"/>
                </a:lnTo>
                <a:lnTo>
                  <a:pt x="300" y="522"/>
                </a:lnTo>
                <a:lnTo>
                  <a:pt x="300" y="463"/>
                </a:lnTo>
                <a:lnTo>
                  <a:pt x="0" y="463"/>
                </a:lnTo>
                <a:lnTo>
                  <a:pt x="0" y="1059"/>
                </a:lnTo>
                <a:lnTo>
                  <a:pt x="119" y="1059"/>
                </a:lnTo>
                <a:lnTo>
                  <a:pt x="118" y="1206"/>
                </a:lnTo>
                <a:lnTo>
                  <a:pt x="337" y="1061"/>
                </a:lnTo>
                <a:lnTo>
                  <a:pt x="776" y="1059"/>
                </a:lnTo>
                <a:lnTo>
                  <a:pt x="776" y="766"/>
                </a:lnTo>
                <a:lnTo>
                  <a:pt x="786" y="755"/>
                </a:lnTo>
                <a:lnTo>
                  <a:pt x="795" y="743"/>
                </a:lnTo>
                <a:lnTo>
                  <a:pt x="803" y="731"/>
                </a:lnTo>
                <a:lnTo>
                  <a:pt x="812" y="717"/>
                </a:lnTo>
                <a:lnTo>
                  <a:pt x="818" y="704"/>
                </a:lnTo>
                <a:lnTo>
                  <a:pt x="825" y="690"/>
                </a:lnTo>
                <a:lnTo>
                  <a:pt x="831" y="676"/>
                </a:lnTo>
                <a:lnTo>
                  <a:pt x="835" y="662"/>
                </a:lnTo>
                <a:lnTo>
                  <a:pt x="843" y="632"/>
                </a:lnTo>
                <a:lnTo>
                  <a:pt x="813" y="625"/>
                </a:lnTo>
                <a:lnTo>
                  <a:pt x="797" y="620"/>
                </a:lnTo>
                <a:lnTo>
                  <a:pt x="798" y="609"/>
                </a:lnTo>
                <a:lnTo>
                  <a:pt x="798" y="597"/>
                </a:lnTo>
                <a:lnTo>
                  <a:pt x="856" y="597"/>
                </a:lnTo>
                <a:lnTo>
                  <a:pt x="1075" y="741"/>
                </a:lnTo>
                <a:lnTo>
                  <a:pt x="1075" y="597"/>
                </a:lnTo>
                <a:lnTo>
                  <a:pt x="1193" y="597"/>
                </a:lnTo>
                <a:lnTo>
                  <a:pt x="1193" y="0"/>
                </a:lnTo>
                <a:close/>
                <a:moveTo>
                  <a:pt x="538" y="239"/>
                </a:moveTo>
                <a:lnTo>
                  <a:pt x="1075" y="239"/>
                </a:lnTo>
                <a:lnTo>
                  <a:pt x="1075" y="299"/>
                </a:lnTo>
                <a:lnTo>
                  <a:pt x="538" y="299"/>
                </a:lnTo>
                <a:lnTo>
                  <a:pt x="538" y="239"/>
                </a:lnTo>
                <a:close/>
                <a:moveTo>
                  <a:pt x="538" y="119"/>
                </a:moveTo>
                <a:lnTo>
                  <a:pt x="1075" y="119"/>
                </a:lnTo>
                <a:lnTo>
                  <a:pt x="1075" y="179"/>
                </a:lnTo>
                <a:lnTo>
                  <a:pt x="538" y="179"/>
                </a:lnTo>
                <a:lnTo>
                  <a:pt x="538" y="119"/>
                </a:lnTo>
                <a:close/>
                <a:moveTo>
                  <a:pt x="697" y="697"/>
                </a:moveTo>
                <a:lnTo>
                  <a:pt x="683" y="709"/>
                </a:lnTo>
                <a:lnTo>
                  <a:pt x="668" y="720"/>
                </a:lnTo>
                <a:lnTo>
                  <a:pt x="651" y="728"/>
                </a:lnTo>
                <a:lnTo>
                  <a:pt x="634" y="733"/>
                </a:lnTo>
                <a:lnTo>
                  <a:pt x="603" y="741"/>
                </a:lnTo>
                <a:lnTo>
                  <a:pt x="613" y="771"/>
                </a:lnTo>
                <a:lnTo>
                  <a:pt x="617" y="783"/>
                </a:lnTo>
                <a:lnTo>
                  <a:pt x="598" y="783"/>
                </a:lnTo>
                <a:lnTo>
                  <a:pt x="579" y="783"/>
                </a:lnTo>
                <a:lnTo>
                  <a:pt x="590" y="741"/>
                </a:lnTo>
                <a:lnTo>
                  <a:pt x="561" y="733"/>
                </a:lnTo>
                <a:lnTo>
                  <a:pt x="544" y="728"/>
                </a:lnTo>
                <a:lnTo>
                  <a:pt x="526" y="720"/>
                </a:lnTo>
                <a:lnTo>
                  <a:pt x="511" y="709"/>
                </a:lnTo>
                <a:lnTo>
                  <a:pt x="498" y="697"/>
                </a:lnTo>
                <a:lnTo>
                  <a:pt x="476" y="676"/>
                </a:lnTo>
                <a:lnTo>
                  <a:pt x="446" y="706"/>
                </a:lnTo>
                <a:lnTo>
                  <a:pt x="436" y="691"/>
                </a:lnTo>
                <a:lnTo>
                  <a:pt x="428" y="674"/>
                </a:lnTo>
                <a:lnTo>
                  <a:pt x="440" y="671"/>
                </a:lnTo>
                <a:lnTo>
                  <a:pt x="468" y="663"/>
                </a:lnTo>
                <a:lnTo>
                  <a:pt x="461" y="635"/>
                </a:lnTo>
                <a:lnTo>
                  <a:pt x="457" y="616"/>
                </a:lnTo>
                <a:lnTo>
                  <a:pt x="456" y="598"/>
                </a:lnTo>
                <a:lnTo>
                  <a:pt x="457" y="579"/>
                </a:lnTo>
                <a:lnTo>
                  <a:pt x="461" y="561"/>
                </a:lnTo>
                <a:lnTo>
                  <a:pt x="468" y="532"/>
                </a:lnTo>
                <a:lnTo>
                  <a:pt x="428" y="521"/>
                </a:lnTo>
                <a:lnTo>
                  <a:pt x="436" y="505"/>
                </a:lnTo>
                <a:lnTo>
                  <a:pt x="445" y="488"/>
                </a:lnTo>
                <a:lnTo>
                  <a:pt x="455" y="498"/>
                </a:lnTo>
                <a:lnTo>
                  <a:pt x="476" y="518"/>
                </a:lnTo>
                <a:lnTo>
                  <a:pt x="498" y="498"/>
                </a:lnTo>
                <a:lnTo>
                  <a:pt x="511" y="486"/>
                </a:lnTo>
                <a:lnTo>
                  <a:pt x="526" y="475"/>
                </a:lnTo>
                <a:lnTo>
                  <a:pt x="542" y="467"/>
                </a:lnTo>
                <a:lnTo>
                  <a:pt x="560" y="461"/>
                </a:lnTo>
                <a:lnTo>
                  <a:pt x="590" y="453"/>
                </a:lnTo>
                <a:lnTo>
                  <a:pt x="578" y="411"/>
                </a:lnTo>
                <a:lnTo>
                  <a:pt x="597" y="410"/>
                </a:lnTo>
                <a:lnTo>
                  <a:pt x="615" y="411"/>
                </a:lnTo>
                <a:lnTo>
                  <a:pt x="605" y="453"/>
                </a:lnTo>
                <a:lnTo>
                  <a:pt x="633" y="461"/>
                </a:lnTo>
                <a:lnTo>
                  <a:pt x="651" y="467"/>
                </a:lnTo>
                <a:lnTo>
                  <a:pt x="668" y="475"/>
                </a:lnTo>
                <a:lnTo>
                  <a:pt x="683" y="486"/>
                </a:lnTo>
                <a:lnTo>
                  <a:pt x="697" y="498"/>
                </a:lnTo>
                <a:lnTo>
                  <a:pt x="718" y="520"/>
                </a:lnTo>
                <a:lnTo>
                  <a:pt x="748" y="488"/>
                </a:lnTo>
                <a:lnTo>
                  <a:pt x="759" y="503"/>
                </a:lnTo>
                <a:lnTo>
                  <a:pt x="767" y="521"/>
                </a:lnTo>
                <a:lnTo>
                  <a:pt x="755" y="524"/>
                </a:lnTo>
                <a:lnTo>
                  <a:pt x="725" y="532"/>
                </a:lnTo>
                <a:lnTo>
                  <a:pt x="733" y="560"/>
                </a:lnTo>
                <a:lnTo>
                  <a:pt x="737" y="576"/>
                </a:lnTo>
                <a:lnTo>
                  <a:pt x="739" y="593"/>
                </a:lnTo>
                <a:lnTo>
                  <a:pt x="737" y="610"/>
                </a:lnTo>
                <a:lnTo>
                  <a:pt x="735" y="626"/>
                </a:lnTo>
                <a:lnTo>
                  <a:pt x="726" y="663"/>
                </a:lnTo>
                <a:lnTo>
                  <a:pt x="755" y="670"/>
                </a:lnTo>
                <a:lnTo>
                  <a:pt x="767" y="674"/>
                </a:lnTo>
                <a:lnTo>
                  <a:pt x="759" y="690"/>
                </a:lnTo>
                <a:lnTo>
                  <a:pt x="748" y="706"/>
                </a:lnTo>
                <a:lnTo>
                  <a:pt x="718" y="676"/>
                </a:lnTo>
                <a:lnTo>
                  <a:pt x="697" y="697"/>
                </a:lnTo>
                <a:close/>
                <a:moveTo>
                  <a:pt x="1133" y="537"/>
                </a:moveTo>
                <a:lnTo>
                  <a:pt x="1016" y="537"/>
                </a:lnTo>
                <a:lnTo>
                  <a:pt x="1016" y="630"/>
                </a:lnTo>
                <a:lnTo>
                  <a:pt x="875" y="537"/>
                </a:lnTo>
                <a:lnTo>
                  <a:pt x="836" y="537"/>
                </a:lnTo>
                <a:lnTo>
                  <a:pt x="835" y="533"/>
                </a:lnTo>
                <a:lnTo>
                  <a:pt x="831" y="517"/>
                </a:lnTo>
                <a:lnTo>
                  <a:pt x="825" y="502"/>
                </a:lnTo>
                <a:lnTo>
                  <a:pt x="818" y="487"/>
                </a:lnTo>
                <a:lnTo>
                  <a:pt x="810" y="474"/>
                </a:lnTo>
                <a:lnTo>
                  <a:pt x="802" y="460"/>
                </a:lnTo>
                <a:lnTo>
                  <a:pt x="793" y="446"/>
                </a:lnTo>
                <a:lnTo>
                  <a:pt x="782" y="434"/>
                </a:lnTo>
                <a:lnTo>
                  <a:pt x="771" y="422"/>
                </a:lnTo>
                <a:lnTo>
                  <a:pt x="749" y="400"/>
                </a:lnTo>
                <a:lnTo>
                  <a:pt x="717" y="436"/>
                </a:lnTo>
                <a:lnTo>
                  <a:pt x="697" y="423"/>
                </a:lnTo>
                <a:lnTo>
                  <a:pt x="676" y="413"/>
                </a:lnTo>
                <a:lnTo>
                  <a:pt x="690" y="367"/>
                </a:lnTo>
                <a:lnTo>
                  <a:pt x="660" y="359"/>
                </a:lnTo>
                <a:lnTo>
                  <a:pt x="645" y="356"/>
                </a:lnTo>
                <a:lnTo>
                  <a:pt x="630" y="353"/>
                </a:lnTo>
                <a:lnTo>
                  <a:pt x="614" y="352"/>
                </a:lnTo>
                <a:lnTo>
                  <a:pt x="599" y="350"/>
                </a:lnTo>
                <a:lnTo>
                  <a:pt x="583" y="350"/>
                </a:lnTo>
                <a:lnTo>
                  <a:pt x="568" y="352"/>
                </a:lnTo>
                <a:lnTo>
                  <a:pt x="552" y="354"/>
                </a:lnTo>
                <a:lnTo>
                  <a:pt x="537" y="359"/>
                </a:lnTo>
                <a:lnTo>
                  <a:pt x="505" y="367"/>
                </a:lnTo>
                <a:lnTo>
                  <a:pt x="517" y="413"/>
                </a:lnTo>
                <a:lnTo>
                  <a:pt x="496" y="423"/>
                </a:lnTo>
                <a:lnTo>
                  <a:pt x="478" y="436"/>
                </a:lnTo>
                <a:lnTo>
                  <a:pt x="478" y="60"/>
                </a:lnTo>
                <a:lnTo>
                  <a:pt x="1133" y="60"/>
                </a:lnTo>
                <a:lnTo>
                  <a:pt x="1133" y="537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7" name="Freeform 11"/>
          <p:cNvSpPr>
            <a:spLocks noEditPoints="1"/>
          </p:cNvSpPr>
          <p:nvPr/>
        </p:nvSpPr>
        <p:spPr bwMode="auto">
          <a:xfrm>
            <a:off x="669342" y="2906745"/>
            <a:ext cx="520700" cy="488950"/>
          </a:xfrm>
          <a:custGeom>
            <a:avLst/>
            <a:gdLst/>
            <a:ahLst/>
            <a:cxnLst>
              <a:cxn ang="0">
                <a:pos x="953" y="323"/>
              </a:cxn>
              <a:cxn ang="0">
                <a:pos x="982" y="352"/>
              </a:cxn>
              <a:cxn ang="0">
                <a:pos x="982" y="795"/>
              </a:cxn>
              <a:cxn ang="0">
                <a:pos x="889" y="909"/>
              </a:cxn>
              <a:cxn ang="0">
                <a:pos x="867" y="919"/>
              </a:cxn>
              <a:cxn ang="0">
                <a:pos x="780" y="919"/>
              </a:cxn>
              <a:cxn ang="0">
                <a:pos x="677" y="804"/>
              </a:cxn>
              <a:cxn ang="0">
                <a:pos x="669" y="784"/>
              </a:cxn>
              <a:cxn ang="0">
                <a:pos x="56" y="57"/>
              </a:cxn>
              <a:cxn ang="0">
                <a:pos x="156" y="868"/>
              </a:cxn>
              <a:cxn ang="0">
                <a:pos x="572" y="924"/>
              </a:cxn>
              <a:cxn ang="0">
                <a:pos x="132" y="924"/>
              </a:cxn>
              <a:cxn ang="0">
                <a:pos x="8" y="801"/>
              </a:cxn>
              <a:cxn ang="0">
                <a:pos x="0" y="780"/>
              </a:cxn>
              <a:cxn ang="0">
                <a:pos x="0" y="0"/>
              </a:cxn>
              <a:cxn ang="0">
                <a:pos x="698" y="0"/>
              </a:cxn>
              <a:cxn ang="0">
                <a:pos x="727" y="29"/>
              </a:cxn>
              <a:cxn ang="0">
                <a:pos x="479" y="233"/>
              </a:cxn>
              <a:cxn ang="0">
                <a:pos x="576" y="289"/>
              </a:cxn>
              <a:cxn ang="0">
                <a:pos x="479" y="233"/>
              </a:cxn>
              <a:cxn ang="0">
                <a:pos x="576" y="383"/>
              </a:cxn>
              <a:cxn ang="0">
                <a:pos x="479" y="440"/>
              </a:cxn>
              <a:cxn ang="0">
                <a:pos x="141" y="683"/>
              </a:cxn>
              <a:cxn ang="0">
                <a:pos x="576" y="741"/>
              </a:cxn>
              <a:cxn ang="0">
                <a:pos x="141" y="683"/>
              </a:cxn>
              <a:cxn ang="0">
                <a:pos x="576" y="534"/>
              </a:cxn>
              <a:cxn ang="0">
                <a:pos x="141" y="590"/>
              </a:cxn>
              <a:cxn ang="0">
                <a:pos x="179" y="387"/>
              </a:cxn>
              <a:cxn ang="0">
                <a:pos x="348" y="218"/>
              </a:cxn>
              <a:cxn ang="0">
                <a:pos x="179" y="387"/>
              </a:cxn>
              <a:cxn ang="0">
                <a:pos x="151" y="445"/>
              </a:cxn>
              <a:cxn ang="0">
                <a:pos x="122" y="416"/>
              </a:cxn>
              <a:cxn ang="0">
                <a:pos x="122" y="161"/>
              </a:cxn>
              <a:cxn ang="0">
                <a:pos x="377" y="161"/>
              </a:cxn>
              <a:cxn ang="0">
                <a:pos x="406" y="190"/>
              </a:cxn>
              <a:cxn ang="0">
                <a:pos x="406" y="445"/>
              </a:cxn>
              <a:cxn ang="0">
                <a:pos x="925" y="381"/>
              </a:cxn>
              <a:cxn ang="0">
                <a:pos x="727" y="774"/>
              </a:cxn>
              <a:cxn ang="0">
                <a:pos x="853" y="862"/>
              </a:cxn>
              <a:cxn ang="0">
                <a:pos x="925" y="381"/>
              </a:cxn>
            </a:cxnLst>
            <a:rect l="0" t="0" r="r" b="b"/>
            <a:pathLst>
              <a:path w="982" h="924">
                <a:moveTo>
                  <a:pt x="727" y="323"/>
                </a:moveTo>
                <a:lnTo>
                  <a:pt x="953" y="323"/>
                </a:lnTo>
                <a:lnTo>
                  <a:pt x="982" y="323"/>
                </a:lnTo>
                <a:lnTo>
                  <a:pt x="982" y="352"/>
                </a:lnTo>
                <a:lnTo>
                  <a:pt x="982" y="784"/>
                </a:lnTo>
                <a:lnTo>
                  <a:pt x="982" y="795"/>
                </a:lnTo>
                <a:lnTo>
                  <a:pt x="976" y="803"/>
                </a:lnTo>
                <a:lnTo>
                  <a:pt x="889" y="909"/>
                </a:lnTo>
                <a:lnTo>
                  <a:pt x="880" y="919"/>
                </a:lnTo>
                <a:lnTo>
                  <a:pt x="867" y="919"/>
                </a:lnTo>
                <a:lnTo>
                  <a:pt x="794" y="919"/>
                </a:lnTo>
                <a:lnTo>
                  <a:pt x="780" y="919"/>
                </a:lnTo>
                <a:lnTo>
                  <a:pt x="773" y="910"/>
                </a:lnTo>
                <a:lnTo>
                  <a:pt x="677" y="804"/>
                </a:lnTo>
                <a:lnTo>
                  <a:pt x="669" y="796"/>
                </a:lnTo>
                <a:lnTo>
                  <a:pt x="669" y="784"/>
                </a:lnTo>
                <a:lnTo>
                  <a:pt x="669" y="57"/>
                </a:lnTo>
                <a:lnTo>
                  <a:pt x="56" y="57"/>
                </a:lnTo>
                <a:lnTo>
                  <a:pt x="56" y="769"/>
                </a:lnTo>
                <a:lnTo>
                  <a:pt x="156" y="868"/>
                </a:lnTo>
                <a:lnTo>
                  <a:pt x="572" y="868"/>
                </a:lnTo>
                <a:lnTo>
                  <a:pt x="572" y="924"/>
                </a:lnTo>
                <a:lnTo>
                  <a:pt x="144" y="924"/>
                </a:lnTo>
                <a:lnTo>
                  <a:pt x="132" y="924"/>
                </a:lnTo>
                <a:lnTo>
                  <a:pt x="123" y="917"/>
                </a:lnTo>
                <a:lnTo>
                  <a:pt x="8" y="801"/>
                </a:lnTo>
                <a:lnTo>
                  <a:pt x="0" y="792"/>
                </a:lnTo>
                <a:lnTo>
                  <a:pt x="0" y="780"/>
                </a:lnTo>
                <a:lnTo>
                  <a:pt x="0" y="29"/>
                </a:lnTo>
                <a:lnTo>
                  <a:pt x="0" y="0"/>
                </a:lnTo>
                <a:lnTo>
                  <a:pt x="28" y="0"/>
                </a:lnTo>
                <a:lnTo>
                  <a:pt x="698" y="0"/>
                </a:lnTo>
                <a:lnTo>
                  <a:pt x="727" y="0"/>
                </a:lnTo>
                <a:lnTo>
                  <a:pt x="727" y="29"/>
                </a:lnTo>
                <a:lnTo>
                  <a:pt x="727" y="323"/>
                </a:lnTo>
                <a:close/>
                <a:moveTo>
                  <a:pt x="479" y="233"/>
                </a:moveTo>
                <a:lnTo>
                  <a:pt x="576" y="233"/>
                </a:lnTo>
                <a:lnTo>
                  <a:pt x="576" y="289"/>
                </a:lnTo>
                <a:lnTo>
                  <a:pt x="479" y="289"/>
                </a:lnTo>
                <a:lnTo>
                  <a:pt x="479" y="233"/>
                </a:lnTo>
                <a:close/>
                <a:moveTo>
                  <a:pt x="479" y="383"/>
                </a:moveTo>
                <a:lnTo>
                  <a:pt x="576" y="383"/>
                </a:lnTo>
                <a:lnTo>
                  <a:pt x="576" y="440"/>
                </a:lnTo>
                <a:lnTo>
                  <a:pt x="479" y="440"/>
                </a:lnTo>
                <a:lnTo>
                  <a:pt x="479" y="383"/>
                </a:lnTo>
                <a:close/>
                <a:moveTo>
                  <a:pt x="141" y="683"/>
                </a:moveTo>
                <a:lnTo>
                  <a:pt x="576" y="683"/>
                </a:lnTo>
                <a:lnTo>
                  <a:pt x="576" y="741"/>
                </a:lnTo>
                <a:lnTo>
                  <a:pt x="141" y="741"/>
                </a:lnTo>
                <a:lnTo>
                  <a:pt x="141" y="683"/>
                </a:lnTo>
                <a:close/>
                <a:moveTo>
                  <a:pt x="141" y="534"/>
                </a:moveTo>
                <a:lnTo>
                  <a:pt x="576" y="534"/>
                </a:lnTo>
                <a:lnTo>
                  <a:pt x="576" y="590"/>
                </a:lnTo>
                <a:lnTo>
                  <a:pt x="141" y="590"/>
                </a:lnTo>
                <a:lnTo>
                  <a:pt x="141" y="534"/>
                </a:lnTo>
                <a:close/>
                <a:moveTo>
                  <a:pt x="179" y="387"/>
                </a:moveTo>
                <a:lnTo>
                  <a:pt x="348" y="387"/>
                </a:lnTo>
                <a:lnTo>
                  <a:pt x="348" y="218"/>
                </a:lnTo>
                <a:lnTo>
                  <a:pt x="179" y="218"/>
                </a:lnTo>
                <a:lnTo>
                  <a:pt x="179" y="387"/>
                </a:lnTo>
                <a:close/>
                <a:moveTo>
                  <a:pt x="377" y="445"/>
                </a:moveTo>
                <a:lnTo>
                  <a:pt x="151" y="445"/>
                </a:lnTo>
                <a:lnTo>
                  <a:pt x="122" y="445"/>
                </a:lnTo>
                <a:lnTo>
                  <a:pt x="122" y="416"/>
                </a:lnTo>
                <a:lnTo>
                  <a:pt x="122" y="190"/>
                </a:lnTo>
                <a:lnTo>
                  <a:pt x="122" y="161"/>
                </a:lnTo>
                <a:lnTo>
                  <a:pt x="151" y="161"/>
                </a:lnTo>
                <a:lnTo>
                  <a:pt x="377" y="161"/>
                </a:lnTo>
                <a:lnTo>
                  <a:pt x="406" y="161"/>
                </a:lnTo>
                <a:lnTo>
                  <a:pt x="406" y="190"/>
                </a:lnTo>
                <a:lnTo>
                  <a:pt x="406" y="416"/>
                </a:lnTo>
                <a:lnTo>
                  <a:pt x="406" y="445"/>
                </a:lnTo>
                <a:lnTo>
                  <a:pt x="377" y="445"/>
                </a:lnTo>
                <a:close/>
                <a:moveTo>
                  <a:pt x="925" y="381"/>
                </a:moveTo>
                <a:lnTo>
                  <a:pt x="727" y="381"/>
                </a:lnTo>
                <a:lnTo>
                  <a:pt x="727" y="774"/>
                </a:lnTo>
                <a:lnTo>
                  <a:pt x="807" y="862"/>
                </a:lnTo>
                <a:lnTo>
                  <a:pt x="853" y="862"/>
                </a:lnTo>
                <a:lnTo>
                  <a:pt x="925" y="775"/>
                </a:lnTo>
                <a:lnTo>
                  <a:pt x="925" y="381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Freeform 204"/>
          <p:cNvSpPr>
            <a:spLocks noEditPoints="1"/>
          </p:cNvSpPr>
          <p:nvPr/>
        </p:nvSpPr>
        <p:spPr bwMode="auto">
          <a:xfrm>
            <a:off x="6727393" y="2934666"/>
            <a:ext cx="428625" cy="555625"/>
          </a:xfrm>
          <a:custGeom>
            <a:avLst/>
            <a:gdLst/>
            <a:ahLst/>
            <a:cxnLst>
              <a:cxn ang="0">
                <a:pos x="697" y="928"/>
              </a:cxn>
              <a:cxn ang="0">
                <a:pos x="639" y="870"/>
              </a:cxn>
              <a:cxn ang="0">
                <a:pos x="58" y="870"/>
              </a:cxn>
              <a:cxn ang="0">
                <a:pos x="109" y="838"/>
              </a:cxn>
              <a:cxn ang="0">
                <a:pos x="94" y="811"/>
              </a:cxn>
              <a:cxn ang="0">
                <a:pos x="87" y="780"/>
              </a:cxn>
              <a:cxn ang="0">
                <a:pos x="89" y="746"/>
              </a:cxn>
              <a:cxn ang="0">
                <a:pos x="101" y="714"/>
              </a:cxn>
              <a:cxn ang="0">
                <a:pos x="121" y="687"/>
              </a:cxn>
              <a:cxn ang="0">
                <a:pos x="139" y="672"/>
              </a:cxn>
              <a:cxn ang="0">
                <a:pos x="168" y="659"/>
              </a:cxn>
              <a:cxn ang="0">
                <a:pos x="203" y="653"/>
              </a:cxn>
              <a:cxn ang="0">
                <a:pos x="237" y="659"/>
              </a:cxn>
              <a:cxn ang="0">
                <a:pos x="268" y="672"/>
              </a:cxn>
              <a:cxn ang="0">
                <a:pos x="286" y="687"/>
              </a:cxn>
              <a:cxn ang="0">
                <a:pos x="306" y="714"/>
              </a:cxn>
              <a:cxn ang="0">
                <a:pos x="317" y="746"/>
              </a:cxn>
              <a:cxn ang="0">
                <a:pos x="319" y="780"/>
              </a:cxn>
              <a:cxn ang="0">
                <a:pos x="311" y="811"/>
              </a:cxn>
              <a:cxn ang="0">
                <a:pos x="296" y="838"/>
              </a:cxn>
              <a:cxn ang="0">
                <a:pos x="203" y="1005"/>
              </a:cxn>
              <a:cxn ang="0">
                <a:pos x="0" y="928"/>
              </a:cxn>
              <a:cxn ang="0">
                <a:pos x="812" y="58"/>
              </a:cxn>
              <a:cxn ang="0">
                <a:pos x="754" y="1044"/>
              </a:cxn>
              <a:cxn ang="0">
                <a:pos x="754" y="986"/>
              </a:cxn>
              <a:cxn ang="0">
                <a:pos x="407" y="695"/>
              </a:cxn>
              <a:cxn ang="0">
                <a:pos x="407" y="753"/>
              </a:cxn>
              <a:cxn ang="0">
                <a:pos x="581" y="523"/>
              </a:cxn>
              <a:cxn ang="0">
                <a:pos x="116" y="523"/>
              </a:cxn>
              <a:cxn ang="0">
                <a:pos x="581" y="465"/>
              </a:cxn>
              <a:cxn ang="0">
                <a:pos x="116" y="291"/>
              </a:cxn>
              <a:cxn ang="0">
                <a:pos x="116" y="349"/>
              </a:cxn>
              <a:cxn ang="0">
                <a:pos x="581" y="175"/>
              </a:cxn>
              <a:cxn ang="0">
                <a:pos x="116" y="175"/>
              </a:cxn>
              <a:cxn ang="0">
                <a:pos x="203" y="940"/>
              </a:cxn>
              <a:cxn ang="0">
                <a:pos x="218" y="884"/>
              </a:cxn>
              <a:cxn ang="0">
                <a:pos x="174" y="881"/>
              </a:cxn>
              <a:cxn ang="0">
                <a:pos x="226" y="715"/>
              </a:cxn>
              <a:cxn ang="0">
                <a:pos x="191" y="713"/>
              </a:cxn>
              <a:cxn ang="0">
                <a:pos x="162" y="727"/>
              </a:cxn>
              <a:cxn ang="0">
                <a:pos x="147" y="757"/>
              </a:cxn>
              <a:cxn ang="0">
                <a:pos x="149" y="792"/>
              </a:cxn>
              <a:cxn ang="0">
                <a:pos x="171" y="818"/>
              </a:cxn>
              <a:cxn ang="0">
                <a:pos x="203" y="827"/>
              </a:cxn>
              <a:cxn ang="0">
                <a:pos x="236" y="818"/>
              </a:cxn>
              <a:cxn ang="0">
                <a:pos x="257" y="792"/>
              </a:cxn>
              <a:cxn ang="0">
                <a:pos x="260" y="757"/>
              </a:cxn>
              <a:cxn ang="0">
                <a:pos x="244" y="727"/>
              </a:cxn>
            </a:cxnLst>
            <a:rect l="0" t="0" r="r" b="b"/>
            <a:pathLst>
              <a:path w="812" h="1048">
                <a:moveTo>
                  <a:pt x="29" y="0"/>
                </a:moveTo>
                <a:lnTo>
                  <a:pt x="697" y="0"/>
                </a:lnTo>
                <a:lnTo>
                  <a:pt x="697" y="928"/>
                </a:lnTo>
                <a:lnTo>
                  <a:pt x="348" y="928"/>
                </a:lnTo>
                <a:lnTo>
                  <a:pt x="348" y="870"/>
                </a:lnTo>
                <a:lnTo>
                  <a:pt x="639" y="870"/>
                </a:lnTo>
                <a:lnTo>
                  <a:pt x="639" y="58"/>
                </a:lnTo>
                <a:lnTo>
                  <a:pt x="58" y="58"/>
                </a:lnTo>
                <a:lnTo>
                  <a:pt x="58" y="870"/>
                </a:lnTo>
                <a:lnTo>
                  <a:pt x="116" y="870"/>
                </a:lnTo>
                <a:lnTo>
                  <a:pt x="116" y="846"/>
                </a:lnTo>
                <a:lnTo>
                  <a:pt x="109" y="838"/>
                </a:lnTo>
                <a:lnTo>
                  <a:pt x="104" y="830"/>
                </a:lnTo>
                <a:lnTo>
                  <a:pt x="100" y="820"/>
                </a:lnTo>
                <a:lnTo>
                  <a:pt x="94" y="811"/>
                </a:lnTo>
                <a:lnTo>
                  <a:pt x="91" y="800"/>
                </a:lnTo>
                <a:lnTo>
                  <a:pt x="89" y="791"/>
                </a:lnTo>
                <a:lnTo>
                  <a:pt x="87" y="780"/>
                </a:lnTo>
                <a:lnTo>
                  <a:pt x="87" y="769"/>
                </a:lnTo>
                <a:lnTo>
                  <a:pt x="87" y="757"/>
                </a:lnTo>
                <a:lnTo>
                  <a:pt x="89" y="746"/>
                </a:lnTo>
                <a:lnTo>
                  <a:pt x="93" y="734"/>
                </a:lnTo>
                <a:lnTo>
                  <a:pt x="96" y="723"/>
                </a:lnTo>
                <a:lnTo>
                  <a:pt x="101" y="714"/>
                </a:lnTo>
                <a:lnTo>
                  <a:pt x="106" y="705"/>
                </a:lnTo>
                <a:lnTo>
                  <a:pt x="113" y="695"/>
                </a:lnTo>
                <a:lnTo>
                  <a:pt x="121" y="687"/>
                </a:lnTo>
                <a:lnTo>
                  <a:pt x="121" y="687"/>
                </a:lnTo>
                <a:lnTo>
                  <a:pt x="129" y="679"/>
                </a:lnTo>
                <a:lnTo>
                  <a:pt x="139" y="672"/>
                </a:lnTo>
                <a:lnTo>
                  <a:pt x="148" y="667"/>
                </a:lnTo>
                <a:lnTo>
                  <a:pt x="158" y="663"/>
                </a:lnTo>
                <a:lnTo>
                  <a:pt x="168" y="659"/>
                </a:lnTo>
                <a:lnTo>
                  <a:pt x="180" y="656"/>
                </a:lnTo>
                <a:lnTo>
                  <a:pt x="191" y="653"/>
                </a:lnTo>
                <a:lnTo>
                  <a:pt x="203" y="653"/>
                </a:lnTo>
                <a:lnTo>
                  <a:pt x="215" y="653"/>
                </a:lnTo>
                <a:lnTo>
                  <a:pt x="226" y="656"/>
                </a:lnTo>
                <a:lnTo>
                  <a:pt x="237" y="659"/>
                </a:lnTo>
                <a:lnTo>
                  <a:pt x="248" y="663"/>
                </a:lnTo>
                <a:lnTo>
                  <a:pt x="259" y="667"/>
                </a:lnTo>
                <a:lnTo>
                  <a:pt x="268" y="672"/>
                </a:lnTo>
                <a:lnTo>
                  <a:pt x="276" y="679"/>
                </a:lnTo>
                <a:lnTo>
                  <a:pt x="286" y="687"/>
                </a:lnTo>
                <a:lnTo>
                  <a:pt x="286" y="687"/>
                </a:lnTo>
                <a:lnTo>
                  <a:pt x="292" y="695"/>
                </a:lnTo>
                <a:lnTo>
                  <a:pt x="299" y="705"/>
                </a:lnTo>
                <a:lnTo>
                  <a:pt x="306" y="714"/>
                </a:lnTo>
                <a:lnTo>
                  <a:pt x="310" y="723"/>
                </a:lnTo>
                <a:lnTo>
                  <a:pt x="314" y="734"/>
                </a:lnTo>
                <a:lnTo>
                  <a:pt x="317" y="746"/>
                </a:lnTo>
                <a:lnTo>
                  <a:pt x="318" y="757"/>
                </a:lnTo>
                <a:lnTo>
                  <a:pt x="319" y="769"/>
                </a:lnTo>
                <a:lnTo>
                  <a:pt x="319" y="780"/>
                </a:lnTo>
                <a:lnTo>
                  <a:pt x="317" y="791"/>
                </a:lnTo>
                <a:lnTo>
                  <a:pt x="315" y="800"/>
                </a:lnTo>
                <a:lnTo>
                  <a:pt x="311" y="811"/>
                </a:lnTo>
                <a:lnTo>
                  <a:pt x="307" y="820"/>
                </a:lnTo>
                <a:lnTo>
                  <a:pt x="302" y="830"/>
                </a:lnTo>
                <a:lnTo>
                  <a:pt x="296" y="838"/>
                </a:lnTo>
                <a:lnTo>
                  <a:pt x="290" y="846"/>
                </a:lnTo>
                <a:lnTo>
                  <a:pt x="290" y="1048"/>
                </a:lnTo>
                <a:lnTo>
                  <a:pt x="203" y="1005"/>
                </a:lnTo>
                <a:lnTo>
                  <a:pt x="116" y="1048"/>
                </a:lnTo>
                <a:lnTo>
                  <a:pt x="116" y="928"/>
                </a:lnTo>
                <a:lnTo>
                  <a:pt x="0" y="928"/>
                </a:lnTo>
                <a:lnTo>
                  <a:pt x="0" y="0"/>
                </a:lnTo>
                <a:lnTo>
                  <a:pt x="29" y="0"/>
                </a:lnTo>
                <a:close/>
                <a:moveTo>
                  <a:pt x="812" y="58"/>
                </a:moveTo>
                <a:lnTo>
                  <a:pt x="812" y="1044"/>
                </a:lnTo>
                <a:lnTo>
                  <a:pt x="783" y="1044"/>
                </a:lnTo>
                <a:lnTo>
                  <a:pt x="754" y="1044"/>
                </a:lnTo>
                <a:lnTo>
                  <a:pt x="407" y="1044"/>
                </a:lnTo>
                <a:lnTo>
                  <a:pt x="407" y="986"/>
                </a:lnTo>
                <a:lnTo>
                  <a:pt x="754" y="986"/>
                </a:lnTo>
                <a:lnTo>
                  <a:pt x="754" y="58"/>
                </a:lnTo>
                <a:lnTo>
                  <a:pt x="812" y="58"/>
                </a:lnTo>
                <a:close/>
                <a:moveTo>
                  <a:pt x="407" y="695"/>
                </a:moveTo>
                <a:lnTo>
                  <a:pt x="581" y="695"/>
                </a:lnTo>
                <a:lnTo>
                  <a:pt x="581" y="753"/>
                </a:lnTo>
                <a:lnTo>
                  <a:pt x="407" y="753"/>
                </a:lnTo>
                <a:lnTo>
                  <a:pt x="407" y="695"/>
                </a:lnTo>
                <a:close/>
                <a:moveTo>
                  <a:pt x="116" y="523"/>
                </a:moveTo>
                <a:lnTo>
                  <a:pt x="581" y="523"/>
                </a:lnTo>
                <a:lnTo>
                  <a:pt x="581" y="581"/>
                </a:lnTo>
                <a:lnTo>
                  <a:pt x="116" y="581"/>
                </a:lnTo>
                <a:lnTo>
                  <a:pt x="116" y="523"/>
                </a:lnTo>
                <a:close/>
                <a:moveTo>
                  <a:pt x="116" y="407"/>
                </a:moveTo>
                <a:lnTo>
                  <a:pt x="581" y="407"/>
                </a:lnTo>
                <a:lnTo>
                  <a:pt x="581" y="465"/>
                </a:lnTo>
                <a:lnTo>
                  <a:pt x="116" y="465"/>
                </a:lnTo>
                <a:lnTo>
                  <a:pt x="116" y="407"/>
                </a:lnTo>
                <a:close/>
                <a:moveTo>
                  <a:pt x="116" y="291"/>
                </a:moveTo>
                <a:lnTo>
                  <a:pt x="581" y="291"/>
                </a:lnTo>
                <a:lnTo>
                  <a:pt x="581" y="349"/>
                </a:lnTo>
                <a:lnTo>
                  <a:pt x="116" y="349"/>
                </a:lnTo>
                <a:lnTo>
                  <a:pt x="116" y="291"/>
                </a:lnTo>
                <a:close/>
                <a:moveTo>
                  <a:pt x="116" y="175"/>
                </a:moveTo>
                <a:lnTo>
                  <a:pt x="581" y="175"/>
                </a:lnTo>
                <a:lnTo>
                  <a:pt x="581" y="233"/>
                </a:lnTo>
                <a:lnTo>
                  <a:pt x="116" y="233"/>
                </a:lnTo>
                <a:lnTo>
                  <a:pt x="116" y="175"/>
                </a:lnTo>
                <a:close/>
                <a:moveTo>
                  <a:pt x="174" y="881"/>
                </a:moveTo>
                <a:lnTo>
                  <a:pt x="174" y="954"/>
                </a:lnTo>
                <a:lnTo>
                  <a:pt x="203" y="940"/>
                </a:lnTo>
                <a:lnTo>
                  <a:pt x="232" y="954"/>
                </a:lnTo>
                <a:lnTo>
                  <a:pt x="232" y="881"/>
                </a:lnTo>
                <a:lnTo>
                  <a:pt x="218" y="884"/>
                </a:lnTo>
                <a:lnTo>
                  <a:pt x="203" y="885"/>
                </a:lnTo>
                <a:lnTo>
                  <a:pt x="189" y="884"/>
                </a:lnTo>
                <a:lnTo>
                  <a:pt x="174" y="881"/>
                </a:lnTo>
                <a:close/>
                <a:moveTo>
                  <a:pt x="244" y="727"/>
                </a:moveTo>
                <a:lnTo>
                  <a:pt x="236" y="721"/>
                </a:lnTo>
                <a:lnTo>
                  <a:pt x="226" y="715"/>
                </a:lnTo>
                <a:lnTo>
                  <a:pt x="215" y="713"/>
                </a:lnTo>
                <a:lnTo>
                  <a:pt x="203" y="711"/>
                </a:lnTo>
                <a:lnTo>
                  <a:pt x="191" y="713"/>
                </a:lnTo>
                <a:lnTo>
                  <a:pt x="180" y="715"/>
                </a:lnTo>
                <a:lnTo>
                  <a:pt x="171" y="721"/>
                </a:lnTo>
                <a:lnTo>
                  <a:pt x="162" y="727"/>
                </a:lnTo>
                <a:lnTo>
                  <a:pt x="155" y="737"/>
                </a:lnTo>
                <a:lnTo>
                  <a:pt x="149" y="746"/>
                </a:lnTo>
                <a:lnTo>
                  <a:pt x="147" y="757"/>
                </a:lnTo>
                <a:lnTo>
                  <a:pt x="145" y="769"/>
                </a:lnTo>
                <a:lnTo>
                  <a:pt x="147" y="781"/>
                </a:lnTo>
                <a:lnTo>
                  <a:pt x="149" y="792"/>
                </a:lnTo>
                <a:lnTo>
                  <a:pt x="155" y="802"/>
                </a:lnTo>
                <a:lnTo>
                  <a:pt x="162" y="810"/>
                </a:lnTo>
                <a:lnTo>
                  <a:pt x="171" y="818"/>
                </a:lnTo>
                <a:lnTo>
                  <a:pt x="180" y="823"/>
                </a:lnTo>
                <a:lnTo>
                  <a:pt x="191" y="826"/>
                </a:lnTo>
                <a:lnTo>
                  <a:pt x="203" y="827"/>
                </a:lnTo>
                <a:lnTo>
                  <a:pt x="215" y="826"/>
                </a:lnTo>
                <a:lnTo>
                  <a:pt x="226" y="823"/>
                </a:lnTo>
                <a:lnTo>
                  <a:pt x="236" y="818"/>
                </a:lnTo>
                <a:lnTo>
                  <a:pt x="244" y="810"/>
                </a:lnTo>
                <a:lnTo>
                  <a:pt x="252" y="802"/>
                </a:lnTo>
                <a:lnTo>
                  <a:pt x="257" y="792"/>
                </a:lnTo>
                <a:lnTo>
                  <a:pt x="260" y="781"/>
                </a:lnTo>
                <a:lnTo>
                  <a:pt x="261" y="769"/>
                </a:lnTo>
                <a:lnTo>
                  <a:pt x="260" y="757"/>
                </a:lnTo>
                <a:lnTo>
                  <a:pt x="257" y="746"/>
                </a:lnTo>
                <a:lnTo>
                  <a:pt x="252" y="737"/>
                </a:lnTo>
                <a:lnTo>
                  <a:pt x="244" y="727"/>
                </a:lnTo>
                <a:lnTo>
                  <a:pt x="244" y="727"/>
                </a:lnTo>
                <a:close/>
              </a:path>
            </a:pathLst>
          </a:custGeom>
          <a:solidFill>
            <a:srgbClr val="FEFEF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05657845-F36A-0B42-8197-2DB0A71FE0A1}"/>
              </a:ext>
            </a:extLst>
          </p:cNvPr>
          <p:cNvSpPr/>
          <p:nvPr/>
        </p:nvSpPr>
        <p:spPr>
          <a:xfrm rot="5400000">
            <a:off x="3055597" y="-193244"/>
            <a:ext cx="59402" cy="53671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5657845-F36A-0B42-8197-2DB0A71FE0A1}"/>
              </a:ext>
            </a:extLst>
          </p:cNvPr>
          <p:cNvSpPr/>
          <p:nvPr/>
        </p:nvSpPr>
        <p:spPr>
          <a:xfrm rot="5400000">
            <a:off x="9073885" y="1499301"/>
            <a:ext cx="59402" cy="53671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3080EBE6-F759-4B94-9F1B-99A581710A2A}"/>
              </a:ext>
            </a:extLst>
          </p:cNvPr>
          <p:cNvSpPr/>
          <p:nvPr/>
        </p:nvSpPr>
        <p:spPr>
          <a:xfrm>
            <a:off x="6413796" y="4376229"/>
            <a:ext cx="5363976" cy="15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rgbClr val="FF0000"/>
              </a:buClr>
            </a:pPr>
            <a:endParaRPr lang="ru-RU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40E8C8E9-88C2-49A8-A78E-723D54D95945}"/>
              </a:ext>
            </a:extLst>
          </p:cNvPr>
          <p:cNvSpPr/>
          <p:nvPr/>
        </p:nvSpPr>
        <p:spPr>
          <a:xfrm>
            <a:off x="7384111" y="4482654"/>
            <a:ext cx="4389754" cy="728405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369"/>
              </a:spcAft>
              <a:defRPr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Внедрение сквозного контроля со стороны УОТ и ПБ на всех стадиях процесса оценки технического состояния</a:t>
            </a:r>
            <a:endParaRPr kumimoji="0" lang="ru-RU" sz="1108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9935AD0C-6F98-4725-9884-E4435371AF8D}"/>
              </a:ext>
            </a:extLst>
          </p:cNvPr>
          <p:cNvSpPr/>
          <p:nvPr/>
        </p:nvSpPr>
        <p:spPr>
          <a:xfrm>
            <a:off x="401748" y="4376230"/>
            <a:ext cx="5363976" cy="1476164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792000" tIns="1080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B2A0F4E5-E0DE-4F4D-9CBB-F917EA2155E8}"/>
              </a:ext>
            </a:extLst>
          </p:cNvPr>
          <p:cNvSpPr/>
          <p:nvPr/>
        </p:nvSpPr>
        <p:spPr>
          <a:xfrm>
            <a:off x="1375191" y="4524348"/>
            <a:ext cx="4389754" cy="913070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и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bg1"/>
                </a:solidFill>
              </a:rPr>
              <a:t>Автоматизация процессов планирования, организации оценки, устранения замечаний, контроля и отчетности (программный модуль «ОТС», </a:t>
            </a:r>
            <a:r>
              <a:rPr lang="ru-RU" sz="1200" dirty="0" err="1">
                <a:solidFill>
                  <a:schemeClr val="bg1"/>
                </a:solidFill>
              </a:rPr>
              <a:t>дашборд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05657845-F36A-0B42-8197-2DB0A71FE0A1}"/>
              </a:ext>
            </a:extLst>
          </p:cNvPr>
          <p:cNvSpPr/>
          <p:nvPr/>
        </p:nvSpPr>
        <p:spPr>
          <a:xfrm rot="5400000">
            <a:off x="3047501" y="3200401"/>
            <a:ext cx="63114" cy="53671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39" name="Freeform 120"/>
          <p:cNvSpPr>
            <a:spLocks noEditPoints="1"/>
          </p:cNvSpPr>
          <p:nvPr/>
        </p:nvSpPr>
        <p:spPr bwMode="auto">
          <a:xfrm>
            <a:off x="669342" y="4606441"/>
            <a:ext cx="477376" cy="442411"/>
          </a:xfrm>
          <a:custGeom>
            <a:avLst/>
            <a:gdLst/>
            <a:ahLst/>
            <a:cxnLst>
              <a:cxn ang="0">
                <a:pos x="999" y="820"/>
              </a:cxn>
              <a:cxn ang="0">
                <a:pos x="666" y="820"/>
              </a:cxn>
              <a:cxn ang="0">
                <a:pos x="666" y="974"/>
              </a:cxn>
              <a:cxn ang="0">
                <a:pos x="769" y="974"/>
              </a:cxn>
              <a:cxn ang="0">
                <a:pos x="769" y="1025"/>
              </a:cxn>
              <a:cxn ang="0">
                <a:pos x="257" y="1025"/>
              </a:cxn>
              <a:cxn ang="0">
                <a:pos x="257" y="974"/>
              </a:cxn>
              <a:cxn ang="0">
                <a:pos x="358" y="974"/>
              </a:cxn>
              <a:cxn ang="0">
                <a:pos x="358" y="820"/>
              </a:cxn>
              <a:cxn ang="0">
                <a:pos x="0" y="820"/>
              </a:cxn>
              <a:cxn ang="0">
                <a:pos x="0" y="0"/>
              </a:cxn>
              <a:cxn ang="0">
                <a:pos x="1025" y="0"/>
              </a:cxn>
              <a:cxn ang="0">
                <a:pos x="1025" y="718"/>
              </a:cxn>
              <a:cxn ang="0">
                <a:pos x="974" y="718"/>
              </a:cxn>
              <a:cxn ang="0">
                <a:pos x="974" y="51"/>
              </a:cxn>
              <a:cxn ang="0">
                <a:pos x="51" y="51"/>
              </a:cxn>
              <a:cxn ang="0">
                <a:pos x="51" y="769"/>
              </a:cxn>
              <a:cxn ang="0">
                <a:pos x="923" y="769"/>
              </a:cxn>
              <a:cxn ang="0">
                <a:pos x="923" y="769"/>
              </a:cxn>
              <a:cxn ang="0">
                <a:pos x="1025" y="769"/>
              </a:cxn>
              <a:cxn ang="0">
                <a:pos x="1025" y="820"/>
              </a:cxn>
              <a:cxn ang="0">
                <a:pos x="999" y="820"/>
              </a:cxn>
              <a:cxn ang="0">
                <a:pos x="788" y="299"/>
              </a:cxn>
              <a:cxn ang="0">
                <a:pos x="513" y="574"/>
              </a:cxn>
              <a:cxn ang="0">
                <a:pos x="341" y="402"/>
              </a:cxn>
              <a:cxn ang="0">
                <a:pos x="377" y="366"/>
              </a:cxn>
              <a:cxn ang="0">
                <a:pos x="513" y="502"/>
              </a:cxn>
              <a:cxn ang="0">
                <a:pos x="751" y="263"/>
              </a:cxn>
              <a:cxn ang="0">
                <a:pos x="788" y="299"/>
              </a:cxn>
              <a:cxn ang="0">
                <a:pos x="613" y="974"/>
              </a:cxn>
              <a:cxn ang="0">
                <a:pos x="613" y="820"/>
              </a:cxn>
              <a:cxn ang="0">
                <a:pos x="409" y="820"/>
              </a:cxn>
              <a:cxn ang="0">
                <a:pos x="409" y="974"/>
              </a:cxn>
              <a:cxn ang="0">
                <a:pos x="613" y="974"/>
              </a:cxn>
            </a:cxnLst>
            <a:rect l="0" t="0" r="r" b="b"/>
            <a:pathLst>
              <a:path w="1025" h="1025">
                <a:moveTo>
                  <a:pt x="999" y="820"/>
                </a:moveTo>
                <a:lnTo>
                  <a:pt x="666" y="820"/>
                </a:lnTo>
                <a:lnTo>
                  <a:pt x="666" y="974"/>
                </a:lnTo>
                <a:lnTo>
                  <a:pt x="769" y="974"/>
                </a:lnTo>
                <a:lnTo>
                  <a:pt x="769" y="1025"/>
                </a:lnTo>
                <a:lnTo>
                  <a:pt x="257" y="1025"/>
                </a:lnTo>
                <a:lnTo>
                  <a:pt x="257" y="974"/>
                </a:lnTo>
                <a:lnTo>
                  <a:pt x="358" y="974"/>
                </a:lnTo>
                <a:lnTo>
                  <a:pt x="358" y="820"/>
                </a:lnTo>
                <a:lnTo>
                  <a:pt x="0" y="820"/>
                </a:lnTo>
                <a:lnTo>
                  <a:pt x="0" y="0"/>
                </a:lnTo>
                <a:lnTo>
                  <a:pt x="1025" y="0"/>
                </a:lnTo>
                <a:lnTo>
                  <a:pt x="1025" y="718"/>
                </a:lnTo>
                <a:lnTo>
                  <a:pt x="974" y="718"/>
                </a:lnTo>
                <a:lnTo>
                  <a:pt x="974" y="51"/>
                </a:lnTo>
                <a:lnTo>
                  <a:pt x="51" y="51"/>
                </a:lnTo>
                <a:lnTo>
                  <a:pt x="51" y="769"/>
                </a:lnTo>
                <a:lnTo>
                  <a:pt x="923" y="769"/>
                </a:lnTo>
                <a:lnTo>
                  <a:pt x="923" y="769"/>
                </a:lnTo>
                <a:lnTo>
                  <a:pt x="1025" y="769"/>
                </a:lnTo>
                <a:lnTo>
                  <a:pt x="1025" y="820"/>
                </a:lnTo>
                <a:lnTo>
                  <a:pt x="999" y="820"/>
                </a:lnTo>
                <a:close/>
                <a:moveTo>
                  <a:pt x="788" y="299"/>
                </a:moveTo>
                <a:lnTo>
                  <a:pt x="513" y="574"/>
                </a:lnTo>
                <a:lnTo>
                  <a:pt x="341" y="402"/>
                </a:lnTo>
                <a:lnTo>
                  <a:pt x="377" y="366"/>
                </a:lnTo>
                <a:lnTo>
                  <a:pt x="513" y="502"/>
                </a:lnTo>
                <a:lnTo>
                  <a:pt x="751" y="263"/>
                </a:lnTo>
                <a:lnTo>
                  <a:pt x="788" y="299"/>
                </a:lnTo>
                <a:close/>
                <a:moveTo>
                  <a:pt x="613" y="974"/>
                </a:moveTo>
                <a:lnTo>
                  <a:pt x="613" y="820"/>
                </a:lnTo>
                <a:lnTo>
                  <a:pt x="409" y="820"/>
                </a:lnTo>
                <a:lnTo>
                  <a:pt x="409" y="974"/>
                </a:lnTo>
                <a:lnTo>
                  <a:pt x="613" y="974"/>
                </a:lnTo>
                <a:close/>
              </a:path>
            </a:pathLst>
          </a:custGeom>
          <a:solidFill>
            <a:srgbClr val="FEFEF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40" name="Graphic 171">
            <a:extLst>
              <a:ext uri="{FF2B5EF4-FFF2-40B4-BE49-F238E27FC236}">
                <a16:creationId xmlns:a16="http://schemas.microsoft.com/office/drawing/2014/main" xmlns="" id="{34F44686-EF7C-4AA8-8E70-FF1C6E1969B1}"/>
              </a:ext>
            </a:extLst>
          </p:cNvPr>
          <p:cNvGrpSpPr/>
          <p:nvPr/>
        </p:nvGrpSpPr>
        <p:grpSpPr>
          <a:xfrm>
            <a:off x="6615282" y="4531597"/>
            <a:ext cx="596841" cy="595589"/>
            <a:chOff x="1309089" y="1086681"/>
            <a:chExt cx="763200" cy="763200"/>
          </a:xfrm>
        </p:grpSpPr>
        <p:sp>
          <p:nvSpPr>
            <p:cNvPr id="41" name="Полилиния: фигура 98">
              <a:extLst>
                <a:ext uri="{FF2B5EF4-FFF2-40B4-BE49-F238E27FC236}">
                  <a16:creationId xmlns:a16="http://schemas.microsoft.com/office/drawing/2014/main" xmlns="" id="{3A9126EA-06A4-4017-BCFC-0100C560853E}"/>
                </a:ext>
              </a:extLst>
            </p:cNvPr>
            <p:cNvSpPr/>
            <p:nvPr/>
          </p:nvSpPr>
          <p:spPr>
            <a:xfrm>
              <a:off x="1439179" y="1153911"/>
              <a:ext cx="565687" cy="628755"/>
            </a:xfrm>
            <a:custGeom>
              <a:avLst/>
              <a:gdLst>
                <a:gd name="connsiteX0" fmla="*/ 282956 w 565687"/>
                <a:gd name="connsiteY0" fmla="*/ 282939 h 628755"/>
                <a:gd name="connsiteX1" fmla="*/ 282956 w 565687"/>
                <a:gd name="connsiteY1" fmla="*/ 534448 h 628755"/>
                <a:gd name="connsiteX2" fmla="*/ 31447 w 565687"/>
                <a:gd name="connsiteY2" fmla="*/ 534448 h 628755"/>
                <a:gd name="connsiteX3" fmla="*/ 31447 w 565687"/>
                <a:gd name="connsiteY3" fmla="*/ 62860 h 628755"/>
                <a:gd name="connsiteX4" fmla="*/ 94325 w 565687"/>
                <a:gd name="connsiteY4" fmla="*/ 62860 h 628755"/>
                <a:gd name="connsiteX5" fmla="*/ 94325 w 565687"/>
                <a:gd name="connsiteY5" fmla="*/ 94325 h 628755"/>
                <a:gd name="connsiteX6" fmla="*/ 283390 w 565687"/>
                <a:gd name="connsiteY6" fmla="*/ 94325 h 628755"/>
                <a:gd name="connsiteX7" fmla="*/ 283390 w 565687"/>
                <a:gd name="connsiteY7" fmla="*/ 62860 h 628755"/>
                <a:gd name="connsiteX8" fmla="*/ 346267 w 565687"/>
                <a:gd name="connsiteY8" fmla="*/ 62860 h 628755"/>
                <a:gd name="connsiteX9" fmla="*/ 346267 w 565687"/>
                <a:gd name="connsiteY9" fmla="*/ 251509 h 628755"/>
                <a:gd name="connsiteX10" fmla="*/ 377784 w 565687"/>
                <a:gd name="connsiteY10" fmla="*/ 251509 h 628755"/>
                <a:gd name="connsiteX11" fmla="*/ 377784 w 565687"/>
                <a:gd name="connsiteY11" fmla="*/ 31430 h 628755"/>
                <a:gd name="connsiteX12" fmla="*/ 283459 w 565687"/>
                <a:gd name="connsiteY12" fmla="*/ 31430 h 628755"/>
                <a:gd name="connsiteX13" fmla="*/ 283459 w 565687"/>
                <a:gd name="connsiteY13" fmla="*/ 0 h 628755"/>
                <a:gd name="connsiteX14" fmla="*/ 94394 w 565687"/>
                <a:gd name="connsiteY14" fmla="*/ 0 h 628755"/>
                <a:gd name="connsiteX15" fmla="*/ 94394 w 565687"/>
                <a:gd name="connsiteY15" fmla="*/ 31430 h 628755"/>
                <a:gd name="connsiteX16" fmla="*/ 0 w 565687"/>
                <a:gd name="connsiteY16" fmla="*/ 31430 h 628755"/>
                <a:gd name="connsiteX17" fmla="*/ 0 w 565687"/>
                <a:gd name="connsiteY17" fmla="*/ 565878 h 628755"/>
                <a:gd name="connsiteX18" fmla="*/ 282956 w 565687"/>
                <a:gd name="connsiteY18" fmla="*/ 565878 h 628755"/>
                <a:gd name="connsiteX19" fmla="*/ 282956 w 565687"/>
                <a:gd name="connsiteY19" fmla="*/ 628755 h 628755"/>
                <a:gd name="connsiteX20" fmla="*/ 565687 w 565687"/>
                <a:gd name="connsiteY20" fmla="*/ 628755 h 628755"/>
                <a:gd name="connsiteX21" fmla="*/ 565687 w 565687"/>
                <a:gd name="connsiteY21" fmla="*/ 282939 h 628755"/>
                <a:gd name="connsiteX22" fmla="*/ 125772 w 565687"/>
                <a:gd name="connsiteY22" fmla="*/ 31430 h 628755"/>
                <a:gd name="connsiteX23" fmla="*/ 252012 w 565687"/>
                <a:gd name="connsiteY23" fmla="*/ 31430 h 628755"/>
                <a:gd name="connsiteX24" fmla="*/ 252012 w 565687"/>
                <a:gd name="connsiteY24" fmla="*/ 62860 h 628755"/>
                <a:gd name="connsiteX25" fmla="*/ 125772 w 565687"/>
                <a:gd name="connsiteY25" fmla="*/ 62860 h 628755"/>
                <a:gd name="connsiteX26" fmla="*/ 534240 w 565687"/>
                <a:gd name="connsiteY26" fmla="*/ 597325 h 628755"/>
                <a:gd name="connsiteX27" fmla="*/ 314404 w 565687"/>
                <a:gd name="connsiteY27" fmla="*/ 597325 h 628755"/>
                <a:gd name="connsiteX28" fmla="*/ 314404 w 565687"/>
                <a:gd name="connsiteY28" fmla="*/ 314369 h 628755"/>
                <a:gd name="connsiteX29" fmla="*/ 534240 w 565687"/>
                <a:gd name="connsiteY29" fmla="*/ 314369 h 628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5687" h="628755">
                  <a:moveTo>
                    <a:pt x="282956" y="282939"/>
                  </a:moveTo>
                  <a:lnTo>
                    <a:pt x="282956" y="534448"/>
                  </a:lnTo>
                  <a:lnTo>
                    <a:pt x="31447" y="534448"/>
                  </a:lnTo>
                  <a:lnTo>
                    <a:pt x="31447" y="62860"/>
                  </a:lnTo>
                  <a:lnTo>
                    <a:pt x="94325" y="62860"/>
                  </a:lnTo>
                  <a:lnTo>
                    <a:pt x="94325" y="94325"/>
                  </a:lnTo>
                  <a:lnTo>
                    <a:pt x="283390" y="94325"/>
                  </a:lnTo>
                  <a:lnTo>
                    <a:pt x="283390" y="62860"/>
                  </a:lnTo>
                  <a:lnTo>
                    <a:pt x="346267" y="62860"/>
                  </a:lnTo>
                  <a:lnTo>
                    <a:pt x="346267" y="251509"/>
                  </a:lnTo>
                  <a:lnTo>
                    <a:pt x="377784" y="251509"/>
                  </a:lnTo>
                  <a:lnTo>
                    <a:pt x="377784" y="31430"/>
                  </a:lnTo>
                  <a:lnTo>
                    <a:pt x="283459" y="31430"/>
                  </a:lnTo>
                  <a:lnTo>
                    <a:pt x="283459" y="0"/>
                  </a:lnTo>
                  <a:lnTo>
                    <a:pt x="94394" y="0"/>
                  </a:lnTo>
                  <a:lnTo>
                    <a:pt x="94394" y="31430"/>
                  </a:lnTo>
                  <a:lnTo>
                    <a:pt x="0" y="31430"/>
                  </a:lnTo>
                  <a:lnTo>
                    <a:pt x="0" y="565878"/>
                  </a:lnTo>
                  <a:lnTo>
                    <a:pt x="282956" y="565878"/>
                  </a:lnTo>
                  <a:lnTo>
                    <a:pt x="282956" y="628755"/>
                  </a:lnTo>
                  <a:lnTo>
                    <a:pt x="565687" y="628755"/>
                  </a:lnTo>
                  <a:lnTo>
                    <a:pt x="565687" y="282939"/>
                  </a:lnTo>
                  <a:close/>
                  <a:moveTo>
                    <a:pt x="125772" y="31430"/>
                  </a:moveTo>
                  <a:lnTo>
                    <a:pt x="252012" y="31430"/>
                  </a:lnTo>
                  <a:lnTo>
                    <a:pt x="252012" y="62860"/>
                  </a:lnTo>
                  <a:lnTo>
                    <a:pt x="125772" y="62860"/>
                  </a:lnTo>
                  <a:close/>
                  <a:moveTo>
                    <a:pt x="534240" y="597325"/>
                  </a:moveTo>
                  <a:lnTo>
                    <a:pt x="314404" y="597325"/>
                  </a:lnTo>
                  <a:lnTo>
                    <a:pt x="314404" y="314369"/>
                  </a:lnTo>
                  <a:lnTo>
                    <a:pt x="534240" y="314369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99">
              <a:extLst>
                <a:ext uri="{FF2B5EF4-FFF2-40B4-BE49-F238E27FC236}">
                  <a16:creationId xmlns:a16="http://schemas.microsoft.com/office/drawing/2014/main" xmlns="" id="{5F14A54F-46AC-49FE-83E0-7A0386960AEB}"/>
                </a:ext>
              </a:extLst>
            </p:cNvPr>
            <p:cNvSpPr/>
            <p:nvPr/>
          </p:nvSpPr>
          <p:spPr>
            <a:xfrm>
              <a:off x="1879199" y="1688360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00">
              <a:extLst>
                <a:ext uri="{FF2B5EF4-FFF2-40B4-BE49-F238E27FC236}">
                  <a16:creationId xmlns:a16="http://schemas.microsoft.com/office/drawing/2014/main" xmlns="" id="{EA25A78C-261A-47CB-A1E9-E8920D72CD13}"/>
                </a:ext>
              </a:extLst>
            </p:cNvPr>
            <p:cNvSpPr/>
            <p:nvPr/>
          </p:nvSpPr>
          <p:spPr>
            <a:xfrm>
              <a:off x="1816322" y="1688360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01">
              <a:extLst>
                <a:ext uri="{FF2B5EF4-FFF2-40B4-BE49-F238E27FC236}">
                  <a16:creationId xmlns:a16="http://schemas.microsoft.com/office/drawing/2014/main" xmlns="" id="{3C8CEA03-91D3-4796-B1BE-06F1098C42B6}"/>
                </a:ext>
              </a:extLst>
            </p:cNvPr>
            <p:cNvSpPr/>
            <p:nvPr/>
          </p:nvSpPr>
          <p:spPr>
            <a:xfrm>
              <a:off x="1879199" y="1625482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02">
              <a:extLst>
                <a:ext uri="{FF2B5EF4-FFF2-40B4-BE49-F238E27FC236}">
                  <a16:creationId xmlns:a16="http://schemas.microsoft.com/office/drawing/2014/main" xmlns="" id="{1058C5B6-9579-4866-88B4-2C031BC6D103}"/>
                </a:ext>
              </a:extLst>
            </p:cNvPr>
            <p:cNvSpPr/>
            <p:nvPr/>
          </p:nvSpPr>
          <p:spPr>
            <a:xfrm>
              <a:off x="1816322" y="1625482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103">
              <a:extLst>
                <a:ext uri="{FF2B5EF4-FFF2-40B4-BE49-F238E27FC236}">
                  <a16:creationId xmlns:a16="http://schemas.microsoft.com/office/drawing/2014/main" xmlns="" id="{89EA72DC-CEBD-43FE-AE84-B71941DECE2A}"/>
                </a:ext>
              </a:extLst>
            </p:cNvPr>
            <p:cNvSpPr/>
            <p:nvPr/>
          </p:nvSpPr>
          <p:spPr>
            <a:xfrm>
              <a:off x="1785325" y="1499728"/>
              <a:ext cx="156889" cy="31447"/>
            </a:xfrm>
            <a:custGeom>
              <a:avLst/>
              <a:gdLst>
                <a:gd name="connsiteX0" fmla="*/ 0 w 156889"/>
                <a:gd name="connsiteY0" fmla="*/ 0 h 31447"/>
                <a:gd name="connsiteX1" fmla="*/ 156890 w 156889"/>
                <a:gd name="connsiteY1" fmla="*/ 0 h 31447"/>
                <a:gd name="connsiteX2" fmla="*/ 156890 w 156889"/>
                <a:gd name="connsiteY2" fmla="*/ 31447 h 31447"/>
                <a:gd name="connsiteX3" fmla="*/ 0 w 156889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889" h="31447">
                  <a:moveTo>
                    <a:pt x="0" y="0"/>
                  </a:moveTo>
                  <a:lnTo>
                    <a:pt x="156890" y="0"/>
                  </a:lnTo>
                  <a:lnTo>
                    <a:pt x="156890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104">
              <a:extLst>
                <a:ext uri="{FF2B5EF4-FFF2-40B4-BE49-F238E27FC236}">
                  <a16:creationId xmlns:a16="http://schemas.microsoft.com/office/drawing/2014/main" xmlns="" id="{C86E97D0-C4A5-4726-8A3C-CF82F0120316}"/>
                </a:ext>
              </a:extLst>
            </p:cNvPr>
            <p:cNvSpPr/>
            <p:nvPr/>
          </p:nvSpPr>
          <p:spPr>
            <a:xfrm>
              <a:off x="1879199" y="1562605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105">
              <a:extLst>
                <a:ext uri="{FF2B5EF4-FFF2-40B4-BE49-F238E27FC236}">
                  <a16:creationId xmlns:a16="http://schemas.microsoft.com/office/drawing/2014/main" xmlns="" id="{5735C896-94E7-4847-8257-94EF58ECFE9B}"/>
                </a:ext>
              </a:extLst>
            </p:cNvPr>
            <p:cNvSpPr/>
            <p:nvPr/>
          </p:nvSpPr>
          <p:spPr>
            <a:xfrm>
              <a:off x="1816322" y="1562605"/>
              <a:ext cx="31447" cy="31447"/>
            </a:xfrm>
            <a:custGeom>
              <a:avLst/>
              <a:gdLst>
                <a:gd name="connsiteX0" fmla="*/ 0 w 31447"/>
                <a:gd name="connsiteY0" fmla="*/ 0 h 31447"/>
                <a:gd name="connsiteX1" fmla="*/ 31447 w 31447"/>
                <a:gd name="connsiteY1" fmla="*/ 0 h 31447"/>
                <a:gd name="connsiteX2" fmla="*/ 31447 w 31447"/>
                <a:gd name="connsiteY2" fmla="*/ 31447 h 31447"/>
                <a:gd name="connsiteX3" fmla="*/ 0 w 31447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31447">
                  <a:moveTo>
                    <a:pt x="0" y="0"/>
                  </a:moveTo>
                  <a:lnTo>
                    <a:pt x="31447" y="0"/>
                  </a:lnTo>
                  <a:lnTo>
                    <a:pt x="31447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106">
              <a:extLst>
                <a:ext uri="{FF2B5EF4-FFF2-40B4-BE49-F238E27FC236}">
                  <a16:creationId xmlns:a16="http://schemas.microsoft.com/office/drawing/2014/main" xmlns="" id="{2D1834AE-5D27-4FF6-96C9-3B4C5109C8AF}"/>
                </a:ext>
              </a:extLst>
            </p:cNvPr>
            <p:cNvSpPr/>
            <p:nvPr/>
          </p:nvSpPr>
          <p:spPr>
            <a:xfrm>
              <a:off x="1517789" y="1279666"/>
              <a:ext cx="220061" cy="125754"/>
            </a:xfrm>
            <a:custGeom>
              <a:avLst/>
              <a:gdLst>
                <a:gd name="connsiteX0" fmla="*/ 220062 w 220061"/>
                <a:gd name="connsiteY0" fmla="*/ 94307 h 125754"/>
                <a:gd name="connsiteX1" fmla="*/ 188632 w 220061"/>
                <a:gd name="connsiteY1" fmla="*/ 94307 h 125754"/>
                <a:gd name="connsiteX2" fmla="*/ 188632 w 220061"/>
                <a:gd name="connsiteY2" fmla="*/ 15715 h 125754"/>
                <a:gd name="connsiteX3" fmla="*/ 157185 w 220061"/>
                <a:gd name="connsiteY3" fmla="*/ 15715 h 125754"/>
                <a:gd name="connsiteX4" fmla="*/ 157185 w 220061"/>
                <a:gd name="connsiteY4" fmla="*/ 94307 h 125754"/>
                <a:gd name="connsiteX5" fmla="*/ 125755 w 220061"/>
                <a:gd name="connsiteY5" fmla="*/ 94307 h 125754"/>
                <a:gd name="connsiteX6" fmla="*/ 125755 w 220061"/>
                <a:gd name="connsiteY6" fmla="*/ 47162 h 125754"/>
                <a:gd name="connsiteX7" fmla="*/ 94307 w 220061"/>
                <a:gd name="connsiteY7" fmla="*/ 47162 h 125754"/>
                <a:gd name="connsiteX8" fmla="*/ 94307 w 220061"/>
                <a:gd name="connsiteY8" fmla="*/ 94307 h 125754"/>
                <a:gd name="connsiteX9" fmla="*/ 63085 w 220061"/>
                <a:gd name="connsiteY9" fmla="*/ 94307 h 125754"/>
                <a:gd name="connsiteX10" fmla="*/ 63085 w 220061"/>
                <a:gd name="connsiteY10" fmla="*/ 0 h 125754"/>
                <a:gd name="connsiteX11" fmla="*/ 31638 w 220061"/>
                <a:gd name="connsiteY11" fmla="*/ 0 h 125754"/>
                <a:gd name="connsiteX12" fmla="*/ 31638 w 220061"/>
                <a:gd name="connsiteY12" fmla="*/ 94307 h 125754"/>
                <a:gd name="connsiteX13" fmla="*/ 0 w 220061"/>
                <a:gd name="connsiteY13" fmla="*/ 94307 h 125754"/>
                <a:gd name="connsiteX14" fmla="*/ 0 w 220061"/>
                <a:gd name="connsiteY14" fmla="*/ 125755 h 125754"/>
                <a:gd name="connsiteX15" fmla="*/ 220062 w 220061"/>
                <a:gd name="connsiteY15" fmla="*/ 125755 h 125754"/>
                <a:gd name="connsiteX16" fmla="*/ 220062 w 220061"/>
                <a:gd name="connsiteY16" fmla="*/ 94307 h 12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0061" h="125754">
                  <a:moveTo>
                    <a:pt x="220062" y="94307"/>
                  </a:moveTo>
                  <a:lnTo>
                    <a:pt x="188632" y="94307"/>
                  </a:lnTo>
                  <a:lnTo>
                    <a:pt x="188632" y="15715"/>
                  </a:lnTo>
                  <a:lnTo>
                    <a:pt x="157185" y="15715"/>
                  </a:lnTo>
                  <a:lnTo>
                    <a:pt x="157185" y="94307"/>
                  </a:lnTo>
                  <a:lnTo>
                    <a:pt x="125755" y="94307"/>
                  </a:lnTo>
                  <a:lnTo>
                    <a:pt x="125755" y="47162"/>
                  </a:lnTo>
                  <a:lnTo>
                    <a:pt x="94307" y="47162"/>
                  </a:lnTo>
                  <a:lnTo>
                    <a:pt x="94307" y="94307"/>
                  </a:lnTo>
                  <a:lnTo>
                    <a:pt x="63085" y="94307"/>
                  </a:lnTo>
                  <a:lnTo>
                    <a:pt x="63085" y="0"/>
                  </a:lnTo>
                  <a:lnTo>
                    <a:pt x="31638" y="0"/>
                  </a:lnTo>
                  <a:lnTo>
                    <a:pt x="31638" y="94307"/>
                  </a:lnTo>
                  <a:lnTo>
                    <a:pt x="0" y="94307"/>
                  </a:lnTo>
                  <a:lnTo>
                    <a:pt x="0" y="125755"/>
                  </a:lnTo>
                  <a:lnTo>
                    <a:pt x="220062" y="125755"/>
                  </a:lnTo>
                  <a:lnTo>
                    <a:pt x="220062" y="9430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107">
              <a:extLst>
                <a:ext uri="{FF2B5EF4-FFF2-40B4-BE49-F238E27FC236}">
                  <a16:creationId xmlns:a16="http://schemas.microsoft.com/office/drawing/2014/main" xmlns="" id="{EC0247C8-9086-4377-B90E-47DD1AFC462C}"/>
                </a:ext>
              </a:extLst>
            </p:cNvPr>
            <p:cNvSpPr/>
            <p:nvPr/>
          </p:nvSpPr>
          <p:spPr>
            <a:xfrm>
              <a:off x="1518153" y="1436851"/>
              <a:ext cx="188649" cy="188649"/>
            </a:xfrm>
            <a:custGeom>
              <a:avLst/>
              <a:gdLst>
                <a:gd name="connsiteX0" fmla="*/ 0 w 188649"/>
                <a:gd name="connsiteY0" fmla="*/ 94325 h 188649"/>
                <a:gd name="connsiteX1" fmla="*/ 94325 w 188649"/>
                <a:gd name="connsiteY1" fmla="*/ 188649 h 188649"/>
                <a:gd name="connsiteX2" fmla="*/ 188649 w 188649"/>
                <a:gd name="connsiteY2" fmla="*/ 94325 h 188649"/>
                <a:gd name="connsiteX3" fmla="*/ 94325 w 188649"/>
                <a:gd name="connsiteY3" fmla="*/ 0 h 188649"/>
                <a:gd name="connsiteX4" fmla="*/ 0 w 188649"/>
                <a:gd name="connsiteY4" fmla="*/ 94325 h 188649"/>
                <a:gd name="connsiteX5" fmla="*/ 94325 w 188649"/>
                <a:gd name="connsiteY5" fmla="*/ 157202 h 188649"/>
                <a:gd name="connsiteX6" fmla="*/ 31447 w 188649"/>
                <a:gd name="connsiteY6" fmla="*/ 94325 h 188649"/>
                <a:gd name="connsiteX7" fmla="*/ 94325 w 188649"/>
                <a:gd name="connsiteY7" fmla="*/ 31447 h 188649"/>
                <a:gd name="connsiteX8" fmla="*/ 94325 w 188649"/>
                <a:gd name="connsiteY8" fmla="*/ 62877 h 188649"/>
                <a:gd name="connsiteX9" fmla="*/ 93856 w 188649"/>
                <a:gd name="connsiteY9" fmla="*/ 62877 h 188649"/>
                <a:gd name="connsiteX10" fmla="*/ 93856 w 188649"/>
                <a:gd name="connsiteY10" fmla="*/ 94325 h 188649"/>
                <a:gd name="connsiteX11" fmla="*/ 157237 w 188649"/>
                <a:gd name="connsiteY11" fmla="*/ 94325 h 188649"/>
                <a:gd name="connsiteX12" fmla="*/ 94325 w 188649"/>
                <a:gd name="connsiteY12" fmla="*/ 157202 h 188649"/>
                <a:gd name="connsiteX13" fmla="*/ 125703 w 188649"/>
                <a:gd name="connsiteY13" fmla="*/ 39895 h 188649"/>
                <a:gd name="connsiteX14" fmla="*/ 148703 w 188649"/>
                <a:gd name="connsiteY14" fmla="*/ 62877 h 188649"/>
                <a:gd name="connsiteX15" fmla="*/ 125703 w 188649"/>
                <a:gd name="connsiteY15" fmla="*/ 62877 h 18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649" h="188649">
                  <a:moveTo>
                    <a:pt x="0" y="94325"/>
                  </a:moveTo>
                  <a:cubicBezTo>
                    <a:pt x="0" y="146418"/>
                    <a:pt x="42231" y="188649"/>
                    <a:pt x="94325" y="188649"/>
                  </a:cubicBezTo>
                  <a:cubicBezTo>
                    <a:pt x="146418" y="188649"/>
                    <a:pt x="188649" y="146418"/>
                    <a:pt x="188649" y="94325"/>
                  </a:cubicBezTo>
                  <a:cubicBezTo>
                    <a:pt x="188649" y="42231"/>
                    <a:pt x="146418" y="0"/>
                    <a:pt x="94325" y="0"/>
                  </a:cubicBezTo>
                  <a:cubicBezTo>
                    <a:pt x="42259" y="68"/>
                    <a:pt x="68" y="42259"/>
                    <a:pt x="0" y="94325"/>
                  </a:cubicBezTo>
                  <a:close/>
                  <a:moveTo>
                    <a:pt x="94325" y="157202"/>
                  </a:moveTo>
                  <a:cubicBezTo>
                    <a:pt x="59599" y="157202"/>
                    <a:pt x="31447" y="129050"/>
                    <a:pt x="31447" y="94325"/>
                  </a:cubicBezTo>
                  <a:cubicBezTo>
                    <a:pt x="31447" y="59599"/>
                    <a:pt x="59599" y="31447"/>
                    <a:pt x="94325" y="31447"/>
                  </a:cubicBezTo>
                  <a:lnTo>
                    <a:pt x="94325" y="62877"/>
                  </a:lnTo>
                  <a:lnTo>
                    <a:pt x="93856" y="62877"/>
                  </a:lnTo>
                  <a:lnTo>
                    <a:pt x="93856" y="94325"/>
                  </a:lnTo>
                  <a:lnTo>
                    <a:pt x="157237" y="94325"/>
                  </a:lnTo>
                  <a:cubicBezTo>
                    <a:pt x="157198" y="129048"/>
                    <a:pt x="129048" y="157183"/>
                    <a:pt x="94325" y="157202"/>
                  </a:cubicBezTo>
                  <a:close/>
                  <a:moveTo>
                    <a:pt x="125703" y="39895"/>
                  </a:moveTo>
                  <a:cubicBezTo>
                    <a:pt x="135237" y="45424"/>
                    <a:pt x="143164" y="53346"/>
                    <a:pt x="148703" y="62877"/>
                  </a:cubicBezTo>
                  <a:lnTo>
                    <a:pt x="125703" y="6287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02727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3">
            <a:extLst>
              <a:ext uri="{FF2B5EF4-FFF2-40B4-BE49-F238E27FC236}">
                <a16:creationId xmlns:a16="http://schemas.microsoft.com/office/drawing/2014/main" xmlns="" id="{E497B5D1-0651-4ACE-A0A9-0C9231C19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6"/>
            <a:ext cx="10379284" cy="297962"/>
          </a:xfrm>
        </p:spPr>
        <p:txBody>
          <a:bodyPr/>
          <a:lstStyle/>
          <a:p>
            <a:r>
              <a:rPr lang="ru-RU" dirty="0"/>
              <a:t>Программный модуль «ОТС»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3519820"/>
              </p:ext>
            </p:extLst>
          </p:nvPr>
        </p:nvGraphicFramePr>
        <p:xfrm>
          <a:off x="407988" y="2050542"/>
          <a:ext cx="11194507" cy="30908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00">
                  <a:extLst>
                    <a:ext uri="{9D8B030D-6E8A-4147-A177-3AD203B41FA5}">
                      <a16:colId xmlns:a16="http://schemas.microsoft.com/office/drawing/2014/main" xmlns="" val="4287545584"/>
                    </a:ext>
                  </a:extLst>
                </a:gridCol>
                <a:gridCol w="5626608">
                  <a:extLst>
                    <a:ext uri="{9D8B030D-6E8A-4147-A177-3AD203B41FA5}">
                      <a16:colId xmlns:a16="http://schemas.microsoft.com/office/drawing/2014/main" xmlns="" val="312509206"/>
                    </a:ext>
                  </a:extLst>
                </a:gridCol>
                <a:gridCol w="5542499">
                  <a:extLst>
                    <a:ext uri="{9D8B030D-6E8A-4147-A177-3AD203B41FA5}">
                      <a16:colId xmlns:a16="http://schemas.microsoft.com/office/drawing/2014/main" xmlns="" val="105613381"/>
                    </a:ext>
                  </a:extLst>
                </a:gridCol>
              </a:tblGrid>
              <a:tr h="53149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solidFill>
                          <a:srgbClr val="FFFFFF"/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32211453"/>
                  </a:ext>
                </a:extLst>
              </a:tr>
              <a:tr h="940323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Интеграция с каталогом оборудования </a:t>
                      </a: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AP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охват 100% объектов </a:t>
                      </a:r>
                    </a:p>
                    <a:p>
                      <a:pPr lvl="1"/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для выбора подлежащих проведению</a:t>
                      </a:r>
                      <a:r>
                        <a:rPr lang="ru-RU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ОТС и включению в состав ОПО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22041" marR="0" lvl="1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Создания заявок на подготовительные работы к ОТС, на ремонт по результатам ОТС и на закупку услуг непосредственно из программного модуля без дублирования</a:t>
                      </a:r>
                    </a:p>
                    <a:p>
                      <a:pPr lvl="1"/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70104408"/>
                  </a:ext>
                </a:extLst>
              </a:tr>
              <a:tr h="55129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lvl="1"/>
                      <a:endParaRPr lang="ru-RU" sz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lvl="1"/>
                      <a:endParaRPr lang="ru-RU" sz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67970294"/>
                  </a:ext>
                </a:extLst>
              </a:tr>
              <a:tr h="993536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22041" marR="0" lvl="1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Автоматизация</a:t>
                      </a:r>
                      <a:r>
                        <a:rPr lang="ru-RU" sz="12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ланирования и учета проведения всех видов ОТС, контроля выполнения мероприятий по итогам ОТС, ведения базы данных</a:t>
                      </a:r>
                      <a:endParaRPr lang="ru-RU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lvl="1"/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22041" marR="0" lvl="1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Возможность автоматического формирования Сведений, характеризующих ОПО, в программном модуле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08792011"/>
                  </a:ext>
                </a:extLst>
              </a:tr>
              <a:tr h="55129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lvl="1"/>
                      <a:endParaRPr lang="ru-RU" sz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lvl="1"/>
                      <a:endParaRPr lang="ru-RU" sz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68459251"/>
                  </a:ext>
                </a:extLst>
              </a:tr>
              <a:tr h="993535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Возможность учета и анализа затрат на ОТС по подразделениям, </a:t>
                      </a:r>
                    </a:p>
                    <a:p>
                      <a:pPr lvl="1"/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по видам объектов оценки и по периодам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Отображение текущих данных о своевременности и результатах ОТС на витрине данных (</a:t>
                      </a:r>
                      <a:r>
                        <a:rPr lang="ru-RU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дашборде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) в реальном времени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023345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59AD2B51-99AC-4C13-90A0-049E2FEF548E}"/>
              </a:ext>
            </a:extLst>
          </p:cNvPr>
          <p:cNvSpPr/>
          <p:nvPr/>
        </p:nvSpPr>
        <p:spPr>
          <a:xfrm>
            <a:off x="407988" y="870940"/>
            <a:ext cx="9166836" cy="843344"/>
          </a:xfrm>
          <a:prstGeom prst="rect">
            <a:avLst/>
          </a:prstGeom>
          <a:gradFill>
            <a:gsLst>
              <a:gs pos="71000">
                <a:schemeClr val="tx2"/>
              </a:gs>
              <a:gs pos="0">
                <a:schemeClr val="tx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6D54464-38EE-4DF2-A5EC-CAF5CE3B6110}"/>
              </a:ext>
            </a:extLst>
          </p:cNvPr>
          <p:cNvSpPr/>
          <p:nvPr/>
        </p:nvSpPr>
        <p:spPr>
          <a:xfrm>
            <a:off x="559922" y="923863"/>
            <a:ext cx="6814045" cy="738664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С 01.07.2023 введен в эксплуатацию новый программный модуль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по планированию и учету оценки технического состояния (ОТС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на базе SAP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RP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(ПМ «ОТС»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880338"/>
              </p:ext>
            </p:extLst>
          </p:nvPr>
        </p:nvGraphicFramePr>
        <p:xfrm>
          <a:off x="6022848" y="1903893"/>
          <a:ext cx="73152" cy="32374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52">
                  <a:extLst>
                    <a:ext uri="{9D8B030D-6E8A-4147-A177-3AD203B41FA5}">
                      <a16:colId xmlns:a16="http://schemas.microsoft.com/office/drawing/2014/main" xmlns="" val="428565937"/>
                    </a:ext>
                  </a:extLst>
                </a:gridCol>
              </a:tblGrid>
              <a:tr h="467655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5497319"/>
                  </a:ext>
                </a:extLst>
              </a:tr>
              <a:tr h="471704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1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1269358"/>
                  </a:ext>
                </a:extLst>
              </a:tr>
              <a:tr h="435263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3628844"/>
                  </a:ext>
                </a:extLst>
              </a:tr>
              <a:tr h="396798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3177710"/>
                  </a:ext>
                </a:extLst>
              </a:tr>
              <a:tr h="30593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2650543"/>
                  </a:ext>
                </a:extLst>
              </a:tr>
              <a:tr h="527287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8102187"/>
                  </a:ext>
                </a:extLst>
              </a:tr>
              <a:tr h="4227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52972432"/>
                  </a:ext>
                </a:extLst>
              </a:tr>
              <a:tr h="175762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29322528"/>
                  </a:ext>
                </a:extLst>
              </a:tr>
              <a:tr h="4227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0204377"/>
                  </a:ext>
                </a:extLst>
              </a:tr>
              <a:tr h="37304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1627454"/>
                  </a:ext>
                </a:extLst>
              </a:tr>
              <a:tr h="4227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9997179"/>
                  </a:ext>
                </a:extLst>
              </a:tr>
              <a:tr h="292938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14757802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9AD2B51-99AC-4C13-90A0-049E2FEF548E}"/>
              </a:ext>
            </a:extLst>
          </p:cNvPr>
          <p:cNvSpPr/>
          <p:nvPr/>
        </p:nvSpPr>
        <p:spPr>
          <a:xfrm>
            <a:off x="2199736" y="5473950"/>
            <a:ext cx="9364475" cy="834079"/>
          </a:xfrm>
          <a:prstGeom prst="rect">
            <a:avLst/>
          </a:prstGeom>
          <a:gradFill flip="none" rotWithShape="1">
            <a:gsLst>
              <a:gs pos="82000">
                <a:schemeClr val="tx2"/>
              </a:gs>
              <a:gs pos="53000">
                <a:schemeClr val="tx2"/>
              </a:gs>
              <a:gs pos="100000">
                <a:schemeClr val="accent2">
                  <a:alpha val="0"/>
                </a:schemeClr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6D54464-38EE-4DF2-A5EC-CAF5CE3B6110}"/>
              </a:ext>
            </a:extLst>
          </p:cNvPr>
          <p:cNvSpPr/>
          <p:nvPr/>
        </p:nvSpPr>
        <p:spPr>
          <a:xfrm>
            <a:off x="3890513" y="5516439"/>
            <a:ext cx="7487729" cy="73866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Результат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- планирование ОТС и ремонтов на одной платформ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- единая система оформления и контроля всех ремонтных мероприятий</a:t>
            </a:r>
          </a:p>
        </p:txBody>
      </p:sp>
    </p:spTree>
    <p:extLst>
      <p:ext uri="{BB962C8B-B14F-4D97-AF65-F5344CB8AC3E}">
        <p14:creationId xmlns:p14="http://schemas.microsoft.com/office/powerpoint/2010/main" val="3583218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6B7124A1-898D-46EF-A335-999AE77654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3B9CAC58-44C9-4DC0-A6AF-0B4057C34224}" type="slidenum">
              <a:rPr lang="ru-RU" noProof="0" smtClean="0"/>
              <a:pPr lvl="0"/>
              <a:t>5</a:t>
            </a:fld>
            <a:endParaRPr lang="ru-RU" noProof="0" dirty="0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xmlns="" id="{B60F2CDD-2163-4BDF-BF88-EEB47CE96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/>
          <a:p>
            <a:r>
              <a:rPr lang="ru-RU" dirty="0"/>
              <a:t>Управление технического обслуживания и ремонта зданий и сооружений </a:t>
            </a:r>
            <a:br>
              <a:rPr lang="ru-RU" dirty="0"/>
            </a:br>
            <a:r>
              <a:rPr lang="ru-RU" dirty="0"/>
              <a:t>(УТОиР ЗиС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542DF8F7-E039-F94D-B451-96552FF68EF7}"/>
              </a:ext>
            </a:extLst>
          </p:cNvPr>
          <p:cNvSpPr/>
          <p:nvPr/>
        </p:nvSpPr>
        <p:spPr>
          <a:xfrm>
            <a:off x="407986" y="1153033"/>
            <a:ext cx="5688010" cy="5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Проблема </a:t>
            </a:r>
          </a:p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Функция управления ЗиС не централизована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C9A93E9C-4B94-954B-ABCA-DA1FD201369C}"/>
              </a:ext>
            </a:extLst>
          </p:cNvPr>
          <p:cNvSpPr txBox="1"/>
          <p:nvPr/>
        </p:nvSpPr>
        <p:spPr>
          <a:xfrm>
            <a:off x="600690" y="1844401"/>
            <a:ext cx="178254" cy="215444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r>
              <a:rPr lang="ru-RU" sz="1400" b="1" spc="-80" dirty="0" err="1">
                <a:solidFill>
                  <a:schemeClr val="accent1"/>
                </a:solidFill>
                <a:latin typeface="+mj-lt"/>
                <a:ea typeface="Roboto Thin" panose="02000000000000000000" pitchFamily="2" charset="0"/>
                <a:cs typeface="Adobe Gurmukhi" pitchFamily="2" charset="77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97C71F5E-B105-F846-8C78-50BC8A6B4F16}"/>
              </a:ext>
            </a:extLst>
          </p:cNvPr>
          <p:cNvSpPr txBox="1">
            <a:spLocks noChangeAspect="1"/>
          </p:cNvSpPr>
          <p:nvPr/>
        </p:nvSpPr>
        <p:spPr>
          <a:xfrm>
            <a:off x="950925" y="1852225"/>
            <a:ext cx="4851590" cy="152349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indent="0" algn="just">
              <a:buNone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Эксплуатационный контроль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осмотр ЗиС, ведение технической документации, определение степени критичности дефекта выполняется не компетентным персоналом (цехом)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отсутствует понимание порядка осмотра ЗиС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учет ЗиС ведется не в полном объеме (цеха не заинтересован в увеличении объема контроля)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944FF9E7-3895-4165-871B-5C5DC94BF7C7}"/>
              </a:ext>
            </a:extLst>
          </p:cNvPr>
          <p:cNvSpPr txBox="1"/>
          <p:nvPr/>
        </p:nvSpPr>
        <p:spPr>
          <a:xfrm>
            <a:off x="600690" y="3559156"/>
            <a:ext cx="178254" cy="215444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r>
              <a:rPr lang="ru-RU" sz="1400" b="1" spc="-80" dirty="0">
                <a:solidFill>
                  <a:schemeClr val="accent1"/>
                </a:solidFill>
                <a:latin typeface="+mj-lt"/>
                <a:ea typeface="Roboto Thin" panose="02000000000000000000" pitchFamily="2" charset="0"/>
                <a:cs typeface="Adobe Gurmukhi" pitchFamily="2" charset="77"/>
              </a:rPr>
              <a:t>02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29810A5A-2DCD-4EB5-A73B-190215632294}"/>
              </a:ext>
            </a:extLst>
          </p:cNvPr>
          <p:cNvSpPr txBox="1">
            <a:spLocks noChangeAspect="1"/>
          </p:cNvSpPr>
          <p:nvPr/>
        </p:nvSpPr>
        <p:spPr>
          <a:xfrm>
            <a:off x="950925" y="3566980"/>
            <a:ext cx="4851590" cy="14465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indent="0" algn="just">
              <a:buNone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емонт/демонтаж: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управление бюджетом осуществляется подразделением (возможна миграция средств из бюджета на ремонт ЗиС в бюджет на ремонт оборудования)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ри приемке законченного ремонта акцент делается не на качество, а на своевременное освоение бюджета (не качественный ремонт)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5986970F-F21C-4831-82DA-16CF3B9FABB1}"/>
              </a:ext>
            </a:extLst>
          </p:cNvPr>
          <p:cNvSpPr txBox="1"/>
          <p:nvPr/>
        </p:nvSpPr>
        <p:spPr>
          <a:xfrm>
            <a:off x="600690" y="5409574"/>
            <a:ext cx="178254" cy="215444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r>
              <a:rPr lang="ru-RU" sz="1400" b="1" spc="-80" dirty="0">
                <a:solidFill>
                  <a:schemeClr val="accent1"/>
                </a:solidFill>
                <a:latin typeface="+mj-lt"/>
                <a:ea typeface="Roboto Thin" panose="02000000000000000000" pitchFamily="2" charset="0"/>
                <a:cs typeface="Adobe Gurmukhi" pitchFamily="2" charset="77"/>
              </a:rPr>
              <a:t>0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9CCD54A3-128E-433E-9113-5266FF3EC1F0}"/>
              </a:ext>
            </a:extLst>
          </p:cNvPr>
          <p:cNvSpPr txBox="1">
            <a:spLocks noChangeAspect="1"/>
          </p:cNvSpPr>
          <p:nvPr/>
        </p:nvSpPr>
        <p:spPr>
          <a:xfrm>
            <a:off x="950925" y="5409791"/>
            <a:ext cx="4851590" cy="44627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indent="0" algn="just">
              <a:buNone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нновации в системе ЗиС 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отсутствие инновационного подхода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" name="Rectangle 35">
            <a:extLst>
              <a:ext uri="{FF2B5EF4-FFF2-40B4-BE49-F238E27FC236}">
                <a16:creationId xmlns:a16="http://schemas.microsoft.com/office/drawing/2014/main" xmlns="" id="{ECF0225C-5F8E-4635-9059-BA66B9612C97}"/>
              </a:ext>
            </a:extLst>
          </p:cNvPr>
          <p:cNvSpPr/>
          <p:nvPr/>
        </p:nvSpPr>
        <p:spPr>
          <a:xfrm>
            <a:off x="6585711" y="1153474"/>
            <a:ext cx="5510186" cy="59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Решение</a:t>
            </a:r>
          </a:p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Сформировано </a:t>
            </a:r>
            <a:r>
              <a:rPr lang="ru-RU" sz="1400" b="1" dirty="0" err="1">
                <a:solidFill>
                  <a:schemeClr val="accent2"/>
                </a:solidFill>
              </a:rPr>
              <a:t>УТОиР</a:t>
            </a:r>
            <a:r>
              <a:rPr lang="ru-RU" sz="1400" b="1" dirty="0">
                <a:solidFill>
                  <a:schemeClr val="accent2"/>
                </a:solidFill>
              </a:rPr>
              <a:t> ЗиС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29B458C4-0CBC-4B3E-BA3B-00D1FD23B0E6}"/>
              </a:ext>
            </a:extLst>
          </p:cNvPr>
          <p:cNvSpPr txBox="1">
            <a:spLocks noChangeAspect="1"/>
          </p:cNvSpPr>
          <p:nvPr/>
        </p:nvSpPr>
        <p:spPr>
          <a:xfrm>
            <a:off x="6634460" y="2076520"/>
            <a:ext cx="4851590" cy="126188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осмотр ЗиС, ведение документации осуществляется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2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инженерами, имеющими строительное образование, для которых данный вид деятельности является основным 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формировано 211 стратегии осмотра ЗиС. Работа продолжается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полнительно выявлено 935 ЗиС, за которыми контроль ранее не осуществлялся. Работы по выявлению ЗиС продолжаются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xmlns="" id="{B7E93BC2-57B9-4C33-BB0F-3CD148F989FC}"/>
              </a:ext>
            </a:extLst>
          </p:cNvPr>
          <p:cNvSpPr/>
          <p:nvPr/>
        </p:nvSpPr>
        <p:spPr>
          <a:xfrm>
            <a:off x="5195899" y="1430358"/>
            <a:ext cx="1280" cy="1280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189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13ABF395-DD97-8EFD-EE5B-1C1D874D3FD8}"/>
              </a:ext>
            </a:extLst>
          </p:cNvPr>
          <p:cNvCxnSpPr/>
          <p:nvPr/>
        </p:nvCxnSpPr>
        <p:spPr bwMode="auto">
          <a:xfrm>
            <a:off x="493950" y="2047355"/>
            <a:ext cx="112103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253DC2B6-057A-D619-590B-8C8F6F38D76C}"/>
              </a:ext>
            </a:extLst>
          </p:cNvPr>
          <p:cNvCxnSpPr/>
          <p:nvPr/>
        </p:nvCxnSpPr>
        <p:spPr bwMode="auto">
          <a:xfrm>
            <a:off x="519767" y="3743822"/>
            <a:ext cx="112103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F24CAB5-0BF8-C865-9BDA-56B3077E4BCE}"/>
              </a:ext>
            </a:extLst>
          </p:cNvPr>
          <p:cNvSpPr txBox="1">
            <a:spLocks noChangeAspect="1"/>
          </p:cNvSpPr>
          <p:nvPr/>
        </p:nvSpPr>
        <p:spPr>
          <a:xfrm>
            <a:off x="6634460" y="3776492"/>
            <a:ext cx="4851590" cy="8156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роцент выполнения запланированных объемов работ на текущий момент составляет 80 %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формирована программа по демонтажу 129 ЗиС. Работы по демонтажу идут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2E5DB131-0A5E-7DD1-BD9E-B385B892F114}"/>
              </a:ext>
            </a:extLst>
          </p:cNvPr>
          <p:cNvCxnSpPr/>
          <p:nvPr/>
        </p:nvCxnSpPr>
        <p:spPr bwMode="auto">
          <a:xfrm>
            <a:off x="519767" y="5594240"/>
            <a:ext cx="112103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DA0B4097-505A-2073-4DF9-C271A35050E7}"/>
              </a:ext>
            </a:extLst>
          </p:cNvPr>
          <p:cNvSpPr txBox="1">
            <a:spLocks noChangeAspect="1"/>
          </p:cNvSpPr>
          <p:nvPr/>
        </p:nvSpPr>
        <p:spPr>
          <a:xfrm>
            <a:off x="6634460" y="5647310"/>
            <a:ext cx="485159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завершены пилотные проекты по оснащению 3 ЗиС системой мониторинга инженерных конструкций (СМИК). Планируется дальнейшее развитие СМИК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4498F477-C648-8EF8-6731-4549A579F956}"/>
              </a:ext>
            </a:extLst>
          </p:cNvPr>
          <p:cNvCxnSpPr/>
          <p:nvPr/>
        </p:nvCxnSpPr>
        <p:spPr bwMode="auto">
          <a:xfrm>
            <a:off x="6096000" y="936729"/>
            <a:ext cx="0" cy="55189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35">
            <a:extLst>
              <a:ext uri="{FF2B5EF4-FFF2-40B4-BE49-F238E27FC236}">
                <a16:creationId xmlns:a16="http://schemas.microsoft.com/office/drawing/2014/main" xmlns="" id="{ED31EBE2-01A7-6F3C-9E5A-7A1B4AD441F5}"/>
              </a:ext>
            </a:extLst>
          </p:cNvPr>
          <p:cNvSpPr/>
          <p:nvPr/>
        </p:nvSpPr>
        <p:spPr>
          <a:xfrm rot="16200000">
            <a:off x="5653970" y="1162047"/>
            <a:ext cx="615361" cy="249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Было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26" name="Rectangle 35">
            <a:extLst>
              <a:ext uri="{FF2B5EF4-FFF2-40B4-BE49-F238E27FC236}">
                <a16:creationId xmlns:a16="http://schemas.microsoft.com/office/drawing/2014/main" xmlns="" id="{D203956C-C7FE-4568-E65D-3BDB3D19068C}"/>
              </a:ext>
            </a:extLst>
          </p:cNvPr>
          <p:cNvSpPr/>
          <p:nvPr/>
        </p:nvSpPr>
        <p:spPr>
          <a:xfrm rot="16200000">
            <a:off x="5960584" y="1141407"/>
            <a:ext cx="621761" cy="297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2"/>
                </a:solidFill>
              </a:rPr>
              <a:t>Стало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127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2C3575F0-47D0-4E8A-A964-436C5145E968}"/>
              </a:ext>
            </a:extLst>
          </p:cNvPr>
          <p:cNvSpPr/>
          <p:nvPr/>
        </p:nvSpPr>
        <p:spPr>
          <a:xfrm>
            <a:off x="414110" y="1089025"/>
            <a:ext cx="55764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rgbClr val="FF0000"/>
              </a:buClr>
            </a:pPr>
            <a:endParaRPr lang="ru-RU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24C31215-225D-464C-B5A7-1F4D093A34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3B9CAC58-44C9-4DC0-A6AF-0B4057C34224}" type="slidenum">
              <a:rPr lang="ru-RU" noProof="0" smtClean="0"/>
              <a:pPr lvl="0"/>
              <a:t>6</a:t>
            </a:fld>
            <a:endParaRPr lang="ru-RU" noProof="0" dirty="0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xmlns="" id="{B60F2CDD-2163-4BDF-BF88-EEB47CE96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 dirty="0"/>
              <a:t>Меры по снижению травматизма</a:t>
            </a:r>
            <a:endParaRPr lang="en-GB" dirty="0"/>
          </a:p>
        </p:txBody>
      </p:sp>
      <p:sp>
        <p:nvSpPr>
          <p:cNvPr id="28" name="Текст 27">
            <a:extLst>
              <a:ext uri="{FF2B5EF4-FFF2-40B4-BE49-F238E27FC236}">
                <a16:creationId xmlns:a16="http://schemas.microsoft.com/office/drawing/2014/main" xmlns="" id="{79F42442-C7D9-4766-9D88-43FEE9A935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7280ED6F-4DCC-4619-B10D-98787BE0B16F}"/>
              </a:ext>
            </a:extLst>
          </p:cNvPr>
          <p:cNvSpPr/>
          <p:nvPr/>
        </p:nvSpPr>
        <p:spPr>
          <a:xfrm>
            <a:off x="414110" y="3099977"/>
            <a:ext cx="5576400" cy="4266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rgbClr val="DD1E25"/>
              </a:buClr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rgbClr val="99A4AB">
                  <a:lumMod val="50000"/>
                </a:srgbClr>
              </a:solidFill>
              <a:latin typeface="Arial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F00EA1D5-2C97-4C0A-82A8-36BDAC5B383C}"/>
              </a:ext>
            </a:extLst>
          </p:cNvPr>
          <p:cNvSpPr txBox="1"/>
          <p:nvPr/>
        </p:nvSpPr>
        <p:spPr>
          <a:xfrm>
            <a:off x="702113" y="3322045"/>
            <a:ext cx="5069851" cy="276999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just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accent2"/>
                </a:solidFill>
              </a:rPr>
              <a:t>Разработаны методы оценки настилов площадок и лестниц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33E38759-8FCF-4809-B4A7-B0625A1D8082}"/>
              </a:ext>
            </a:extLst>
          </p:cNvPr>
          <p:cNvSpPr txBox="1"/>
          <p:nvPr/>
        </p:nvSpPr>
        <p:spPr>
          <a:xfrm>
            <a:off x="702110" y="4080196"/>
            <a:ext cx="4997846" cy="720710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200" b="1" dirty="0">
                <a:solidFill>
                  <a:schemeClr val="accent2"/>
                </a:solidFill>
              </a:rPr>
              <a:t>Проблем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endParaRPr lang="en-US" sz="1200" b="1" dirty="0">
              <a:solidFill>
                <a:schemeClr val="tx2"/>
              </a:solidFill>
            </a:endParaRPr>
          </a:p>
          <a:p>
            <a:pPr lvl="0" algn="just" defTabSz="844083" fontAlgn="base">
              <a:spcBef>
                <a:spcPct val="0"/>
              </a:spcBef>
              <a:defRPr/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дение персонала через настилы </a:t>
            </a:r>
          </a:p>
          <a:p>
            <a:pPr lvl="0" algn="just" defTabSz="844083" fontAlgn="base">
              <a:spcBef>
                <a:spcPct val="0"/>
              </a:spcBef>
              <a:defRPr/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чина – отсутствие критериев оценки технического состояния настилов. Конкретных государственных требований к состоянию настилов не существует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3FE01014-47B6-45B7-9BB1-C59F500B2753}"/>
              </a:ext>
            </a:extLst>
          </p:cNvPr>
          <p:cNvSpPr txBox="1"/>
          <p:nvPr/>
        </p:nvSpPr>
        <p:spPr>
          <a:xfrm>
            <a:off x="702110" y="4940703"/>
            <a:ext cx="4997846" cy="103618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200" b="1" dirty="0">
                <a:solidFill>
                  <a:schemeClr val="accent2"/>
                </a:solidFill>
              </a:rPr>
              <a:t>Решение</a:t>
            </a:r>
            <a:endParaRPr lang="en-US" sz="1200" b="1" dirty="0">
              <a:solidFill>
                <a:schemeClr val="accent2"/>
              </a:solidFill>
            </a:endParaRPr>
          </a:p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зработаны методические указания, учитывающие: 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етоды оценки технического состояния всех используемых типов настилов 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ритерии выбраковки настилов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став и объем работ по выполнению ремонта настилов</a:t>
            </a:r>
            <a:endParaRPr lang="en-US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3" name="Shape 248">
            <a:extLst>
              <a:ext uri="{FF2B5EF4-FFF2-40B4-BE49-F238E27FC236}">
                <a16:creationId xmlns:a16="http://schemas.microsoft.com/office/drawing/2014/main" xmlns="" id="{9987208B-02A6-40AB-958D-3133E8C1ED33}"/>
              </a:ext>
            </a:extLst>
          </p:cNvPr>
          <p:cNvSpPr/>
          <p:nvPr/>
        </p:nvSpPr>
        <p:spPr>
          <a:xfrm>
            <a:off x="6204716" y="3099977"/>
            <a:ext cx="5576400" cy="3208748"/>
          </a:xfrm>
          <a:prstGeom prst="rect">
            <a:avLst/>
          </a:pr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792000" tIns="1080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endParaRPr lang="ru-RU" sz="1100" kern="0" dirty="0">
              <a:solidFill>
                <a:srgbClr val="FFFFFF">
                  <a:alpha val="75000"/>
                </a:srgb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xmlns="" id="{1F2B8947-9157-4898-A9EB-C3C5696FD76F}"/>
              </a:ext>
            </a:extLst>
          </p:cNvPr>
          <p:cNvSpPr txBox="1"/>
          <p:nvPr/>
        </p:nvSpPr>
        <p:spPr>
          <a:xfrm>
            <a:off x="6492719" y="3303757"/>
            <a:ext cx="5202457" cy="29528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just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bg1"/>
                </a:solidFill>
              </a:rPr>
              <a:t>Разработаны механизмы оперативного оповещения ответственных при выявлении дефектов с риском травмирования персонала (ТРВМ)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xmlns="" id="{2CADCB48-096F-4433-9521-380A2CA6B607}"/>
              </a:ext>
            </a:extLst>
          </p:cNvPr>
          <p:cNvSpPr txBox="1"/>
          <p:nvPr/>
        </p:nvSpPr>
        <p:spPr>
          <a:xfrm>
            <a:off x="6492716" y="4080196"/>
            <a:ext cx="4997850" cy="55912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200" b="1" dirty="0">
                <a:solidFill>
                  <a:schemeClr val="bg1"/>
                </a:solidFill>
              </a:rPr>
              <a:t>Проблема</a:t>
            </a:r>
            <a:endParaRPr lang="en-US" sz="1200" b="1" dirty="0">
              <a:solidFill>
                <a:schemeClr val="bg1"/>
              </a:solidFill>
            </a:endParaRPr>
          </a:p>
          <a:p>
            <a:pPr defTabSz="844083" fontAlgn="base">
              <a:spcBef>
                <a:spcPct val="0"/>
              </a:spcBef>
            </a:pPr>
            <a:r>
              <a:rPr lang="ru-RU" sz="1050" dirty="0">
                <a:solidFill>
                  <a:schemeClr val="bg1"/>
                </a:solidFill>
              </a:rPr>
              <a:t>Падение персонала через настилы</a:t>
            </a:r>
          </a:p>
          <a:p>
            <a:pPr defTabSz="844083" fontAlgn="base">
              <a:spcBef>
                <a:spcPct val="0"/>
              </a:spcBef>
            </a:pPr>
            <a:r>
              <a:rPr lang="ru-RU" sz="1050" dirty="0">
                <a:solidFill>
                  <a:schemeClr val="bg1"/>
                </a:solidFill>
              </a:rPr>
              <a:t>Причина – не определен порядок действий при выявлении дефектов с ТРВМ    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xmlns="" id="{58AB4B09-6194-40DC-ADCC-F4E082F22EC8}"/>
              </a:ext>
            </a:extLst>
          </p:cNvPr>
          <p:cNvSpPr txBox="1"/>
          <p:nvPr/>
        </p:nvSpPr>
        <p:spPr>
          <a:xfrm>
            <a:off x="6492043" y="4904127"/>
            <a:ext cx="5202457" cy="157222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200" b="1" dirty="0">
                <a:solidFill>
                  <a:schemeClr val="bg1"/>
                </a:solidFill>
              </a:rPr>
              <a:t>Решение</a:t>
            </a:r>
            <a:endParaRPr lang="en-US" sz="1200" b="1" dirty="0">
              <a:solidFill>
                <a:schemeClr val="bg1"/>
              </a:solidFill>
            </a:endParaRPr>
          </a:p>
          <a:p>
            <a:pPr defTabSz="844083" fontAlgn="base">
              <a:spcBef>
                <a:spcPct val="0"/>
              </a:spcBef>
              <a:spcAft>
                <a:spcPts val="400"/>
              </a:spcAft>
            </a:pPr>
            <a:r>
              <a:rPr lang="ru-RU" sz="1050" dirty="0">
                <a:solidFill>
                  <a:schemeClr val="bg1"/>
                </a:solidFill>
              </a:rPr>
              <a:t>Разработаны механизмы оперативного оповещения при выявлении дефектов с ТРВМ. Определены: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bg1"/>
                </a:solidFill>
              </a:rPr>
              <a:t>критерии отнесения дефектов к риску ТРВМ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bg1"/>
                </a:solidFill>
              </a:rPr>
              <a:t>порядок оповещения персонала при выявлении дефектов с риском ТРВМ 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chemeClr val="bg1"/>
                </a:solidFill>
              </a:rPr>
              <a:t>способы выполнения компенсирующих мероприятий и порядок контроля их соблюдения</a:t>
            </a:r>
          </a:p>
          <a:p>
            <a:pPr marL="171450" indent="-171450" defTabSz="844083" fontAlgn="base"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0E30013-C934-4E3F-9385-DD48D9DBC9D2}"/>
              </a:ext>
            </a:extLst>
          </p:cNvPr>
          <p:cNvSpPr/>
          <p:nvPr/>
        </p:nvSpPr>
        <p:spPr>
          <a:xfrm>
            <a:off x="6204716" y="1089025"/>
            <a:ext cx="5573173" cy="5219700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latin typeface="+mj-l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5FB5C8-FE35-9501-15EE-3D258E82680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2" b="4812"/>
          <a:stretch>
            <a:fillRect/>
          </a:stretch>
        </p:blipFill>
        <p:spPr/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C47EE575-C34A-D556-10F7-3EF7BA6CD02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83" b="3158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872080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0A531B8-E56E-E14C-B523-E444EEB80B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623095" y="6575886"/>
            <a:ext cx="648072" cy="230864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D0AF9FA6-8698-E243-B4B7-B35402948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451" y="414556"/>
            <a:ext cx="11233359" cy="297962"/>
          </a:xfrm>
        </p:spPr>
        <p:txBody>
          <a:bodyPr/>
          <a:lstStyle/>
          <a:p>
            <a:r>
              <a:rPr lang="ru-RU" dirty="0"/>
              <a:t>Система мониторинга инженерных конструкций ЗиС (СМИК)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77F323B6-6B0E-4F7D-997B-2E5AE437AE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06" y="5356375"/>
            <a:ext cx="1746430" cy="105456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1355E288-91DD-4D86-83EA-48D03332F1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32" y="2423330"/>
            <a:ext cx="1746201" cy="1044636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2209664B-E32C-4A27-9B7F-2E1CFF96AB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33" y="3890411"/>
            <a:ext cx="1746430" cy="1043645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27" name="Заголовок 2">
            <a:extLst>
              <a:ext uri="{FF2B5EF4-FFF2-40B4-BE49-F238E27FC236}">
                <a16:creationId xmlns:a16="http://schemas.microsoft.com/office/drawing/2014/main" xmlns="" id="{D0AF9FA6-8698-E243-B4B7-B35402948BBE}"/>
              </a:ext>
            </a:extLst>
          </p:cNvPr>
          <p:cNvSpPr txBox="1">
            <a:spLocks/>
          </p:cNvSpPr>
          <p:nvPr/>
        </p:nvSpPr>
        <p:spPr>
          <a:xfrm>
            <a:off x="434525" y="1117757"/>
            <a:ext cx="11053483" cy="406325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 defTabSz="914400">
              <a:spcAft>
                <a:spcPts val="600"/>
              </a:spcAft>
              <a:buClr>
                <a:srgbClr val="002F6C"/>
              </a:buClr>
            </a:pPr>
            <a:r>
              <a:rPr lang="ru-RU" sz="1120" b="0" dirty="0"/>
              <a:t>Назначение:</a:t>
            </a:r>
          </a:p>
          <a:p>
            <a:pPr defTabSz="914400">
              <a:spcAft>
                <a:spcPts val="600"/>
              </a:spcAft>
              <a:buClr>
                <a:srgbClr val="002F6C"/>
              </a:buClr>
            </a:pPr>
            <a:r>
              <a:rPr lang="ru-RU" sz="1120" b="0" dirty="0">
                <a:solidFill>
                  <a:schemeClr val="tx1"/>
                </a:solidFill>
              </a:rPr>
              <a:t>Круглосуточный мониторинг состояния ЗиС: контроль деформаций конструкций, оперативное выявление аварийного состояния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9D8D09CE-6224-4853-8F42-C8EA6513E586}"/>
              </a:ext>
            </a:extLst>
          </p:cNvPr>
          <p:cNvCxnSpPr>
            <a:cxnSpLocks/>
          </p:cNvCxnSpPr>
          <p:nvPr/>
        </p:nvCxnSpPr>
        <p:spPr bwMode="auto">
          <a:xfrm>
            <a:off x="434525" y="2060190"/>
            <a:ext cx="2523464" cy="1302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525" y="1797652"/>
            <a:ext cx="1849170" cy="1915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МИК оснащены в 2024</a:t>
            </a: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526" y="2163457"/>
            <a:ext cx="2523463" cy="1915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веча дожигания №3 ЦВКС</a:t>
            </a: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526" y="3660889"/>
            <a:ext cx="2523463" cy="1915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алки рольганг-телеги</a:t>
            </a:r>
            <a:r>
              <a:rPr kumimoji="0" lang="ru-RU" sz="1122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РКС</a:t>
            </a:r>
          </a:p>
        </p:txBody>
      </p:sp>
      <p:sp>
        <p:nvSpPr>
          <p:cNvPr id="38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527" y="5143978"/>
            <a:ext cx="2523463" cy="1915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алерея водоводов УРМО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9D8D09CE-6224-4853-8F42-C8EA6513E586}"/>
              </a:ext>
            </a:extLst>
          </p:cNvPr>
          <p:cNvCxnSpPr>
            <a:cxnSpLocks/>
          </p:cNvCxnSpPr>
          <p:nvPr/>
        </p:nvCxnSpPr>
        <p:spPr bwMode="auto">
          <a:xfrm>
            <a:off x="3090664" y="2073210"/>
            <a:ext cx="8635169" cy="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0664" y="1810672"/>
            <a:ext cx="1849170" cy="1915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хема работы</a:t>
            </a:r>
          </a:p>
        </p:txBody>
      </p:sp>
      <p:grpSp>
        <p:nvGrpSpPr>
          <p:cNvPr id="47" name="Graphic 100">
            <a:extLst>
              <a:ext uri="{FF2B5EF4-FFF2-40B4-BE49-F238E27FC236}">
                <a16:creationId xmlns:a16="http://schemas.microsoft.com/office/drawing/2014/main" xmlns="" id="{27EAB25E-E88B-4D3F-BAA8-044E5388352C}"/>
              </a:ext>
            </a:extLst>
          </p:cNvPr>
          <p:cNvGrpSpPr/>
          <p:nvPr/>
        </p:nvGrpSpPr>
        <p:grpSpPr>
          <a:xfrm>
            <a:off x="3090664" y="2199693"/>
            <a:ext cx="583174" cy="578544"/>
            <a:chOff x="3074162" y="1967432"/>
            <a:chExt cx="763200" cy="763200"/>
          </a:xfrm>
        </p:grpSpPr>
        <p:sp>
          <p:nvSpPr>
            <p:cNvPr id="49" name="Полилиния: фигура 984">
              <a:extLst>
                <a:ext uri="{FF2B5EF4-FFF2-40B4-BE49-F238E27FC236}">
                  <a16:creationId xmlns:a16="http://schemas.microsoft.com/office/drawing/2014/main" xmlns="" id="{D8A4441A-FE60-41F8-9FC9-C6549C901AA5}"/>
                </a:ext>
              </a:extLst>
            </p:cNvPr>
            <p:cNvSpPr/>
            <p:nvPr/>
          </p:nvSpPr>
          <p:spPr>
            <a:xfrm>
              <a:off x="3314986" y="2034480"/>
              <a:ext cx="281568" cy="71836"/>
            </a:xfrm>
            <a:custGeom>
              <a:avLst/>
              <a:gdLst>
                <a:gd name="connsiteX0" fmla="*/ 140776 w 281568"/>
                <a:gd name="connsiteY0" fmla="*/ 31439 h 71836"/>
                <a:gd name="connsiteX1" fmla="*/ 262766 w 281568"/>
                <a:gd name="connsiteY1" fmla="*/ 71836 h 71836"/>
                <a:gd name="connsiteX2" fmla="*/ 281569 w 281568"/>
                <a:gd name="connsiteY2" fmla="*/ 46616 h 71836"/>
                <a:gd name="connsiteX3" fmla="*/ 0 w 281568"/>
                <a:gd name="connsiteY3" fmla="*/ 46616 h 71836"/>
                <a:gd name="connsiteX4" fmla="*/ 18785 w 281568"/>
                <a:gd name="connsiteY4" fmla="*/ 71836 h 71836"/>
                <a:gd name="connsiteX5" fmla="*/ 140776 w 281568"/>
                <a:gd name="connsiteY5" fmla="*/ 31439 h 71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568" h="71836">
                  <a:moveTo>
                    <a:pt x="140776" y="31439"/>
                  </a:moveTo>
                  <a:cubicBezTo>
                    <a:pt x="184746" y="31309"/>
                    <a:pt x="227565" y="45488"/>
                    <a:pt x="262766" y="71836"/>
                  </a:cubicBezTo>
                  <a:lnTo>
                    <a:pt x="281569" y="46616"/>
                  </a:lnTo>
                  <a:cubicBezTo>
                    <a:pt x="198004" y="-15539"/>
                    <a:pt x="83565" y="-15539"/>
                    <a:pt x="0" y="46616"/>
                  </a:cubicBezTo>
                  <a:lnTo>
                    <a:pt x="18785" y="71836"/>
                  </a:lnTo>
                  <a:cubicBezTo>
                    <a:pt x="53986" y="45488"/>
                    <a:pt x="96805" y="31309"/>
                    <a:pt x="140776" y="31439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985">
              <a:extLst>
                <a:ext uri="{FF2B5EF4-FFF2-40B4-BE49-F238E27FC236}">
                  <a16:creationId xmlns:a16="http://schemas.microsoft.com/office/drawing/2014/main" xmlns="" id="{9D9EC9BA-84D9-4176-B0B2-F9B7D531486B}"/>
                </a:ext>
              </a:extLst>
            </p:cNvPr>
            <p:cNvSpPr/>
            <p:nvPr/>
          </p:nvSpPr>
          <p:spPr>
            <a:xfrm>
              <a:off x="3380413" y="2134068"/>
              <a:ext cx="150610" cy="52818"/>
            </a:xfrm>
            <a:custGeom>
              <a:avLst/>
              <a:gdLst>
                <a:gd name="connsiteX0" fmla="*/ 52 w 150610"/>
                <a:gd name="connsiteY0" fmla="*/ 29940 h 52818"/>
                <a:gd name="connsiteX1" fmla="*/ 21578 w 150610"/>
                <a:gd name="connsiteY1" fmla="*/ 52818 h 52818"/>
                <a:gd name="connsiteX2" fmla="*/ 129033 w 150610"/>
                <a:gd name="connsiteY2" fmla="*/ 52818 h 52818"/>
                <a:gd name="connsiteX3" fmla="*/ 150611 w 150610"/>
                <a:gd name="connsiteY3" fmla="*/ 29940 h 52818"/>
                <a:gd name="connsiteX4" fmla="*/ 0 w 150610"/>
                <a:gd name="connsiteY4" fmla="*/ 29940 h 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610" h="52818">
                  <a:moveTo>
                    <a:pt x="52" y="29940"/>
                  </a:moveTo>
                  <a:lnTo>
                    <a:pt x="21578" y="52818"/>
                  </a:lnTo>
                  <a:cubicBezTo>
                    <a:pt x="51729" y="24327"/>
                    <a:pt x="98881" y="24327"/>
                    <a:pt x="129033" y="52818"/>
                  </a:cubicBezTo>
                  <a:lnTo>
                    <a:pt x="150611" y="29940"/>
                  </a:lnTo>
                  <a:cubicBezTo>
                    <a:pt x="108343" y="-9980"/>
                    <a:pt x="42267" y="-9980"/>
                    <a:pt x="0" y="29940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986">
              <a:extLst>
                <a:ext uri="{FF2B5EF4-FFF2-40B4-BE49-F238E27FC236}">
                  <a16:creationId xmlns:a16="http://schemas.microsoft.com/office/drawing/2014/main" xmlns="" id="{159F6CC1-905A-4EDB-BD0B-F8D88427598E}"/>
                </a:ext>
              </a:extLst>
            </p:cNvPr>
            <p:cNvSpPr/>
            <p:nvPr/>
          </p:nvSpPr>
          <p:spPr>
            <a:xfrm>
              <a:off x="3236515" y="2222688"/>
              <a:ext cx="439325" cy="409299"/>
            </a:xfrm>
            <a:custGeom>
              <a:avLst/>
              <a:gdLst>
                <a:gd name="connsiteX0" fmla="*/ 328523 w 439325"/>
                <a:gd name="connsiteY0" fmla="*/ 126343 h 409299"/>
                <a:gd name="connsiteX1" fmla="*/ 266582 w 439325"/>
                <a:gd name="connsiteY1" fmla="*/ 42339 h 409299"/>
                <a:gd name="connsiteX2" fmla="*/ 214116 w 439325"/>
                <a:gd name="connsiteY2" fmla="*/ 290 h 409299"/>
                <a:gd name="connsiteX3" fmla="*/ 172067 w 439325"/>
                <a:gd name="connsiteY3" fmla="*/ 42339 h 409299"/>
                <a:gd name="connsiteX4" fmla="*/ 109970 w 439325"/>
                <a:gd name="connsiteY4" fmla="*/ 126343 h 409299"/>
                <a:gd name="connsiteX5" fmla="*/ 0 w 439325"/>
                <a:gd name="connsiteY5" fmla="*/ 126343 h 409299"/>
                <a:gd name="connsiteX6" fmla="*/ 0 w 439325"/>
                <a:gd name="connsiteY6" fmla="*/ 346440 h 409299"/>
                <a:gd name="connsiteX7" fmla="*/ 31447 w 439325"/>
                <a:gd name="connsiteY7" fmla="*/ 346440 h 409299"/>
                <a:gd name="connsiteX8" fmla="*/ 31447 w 439325"/>
                <a:gd name="connsiteY8" fmla="*/ 157808 h 409299"/>
                <a:gd name="connsiteX9" fmla="*/ 109970 w 439325"/>
                <a:gd name="connsiteY9" fmla="*/ 157808 h 409299"/>
                <a:gd name="connsiteX10" fmla="*/ 234929 w 439325"/>
                <a:gd name="connsiteY10" fmla="*/ 251298 h 409299"/>
                <a:gd name="connsiteX11" fmla="*/ 328419 w 439325"/>
                <a:gd name="connsiteY11" fmla="*/ 157808 h 409299"/>
                <a:gd name="connsiteX12" fmla="*/ 407826 w 439325"/>
                <a:gd name="connsiteY12" fmla="*/ 157808 h 409299"/>
                <a:gd name="connsiteX13" fmla="*/ 407826 w 439325"/>
                <a:gd name="connsiteY13" fmla="*/ 377852 h 409299"/>
                <a:gd name="connsiteX14" fmla="*/ 0 w 439325"/>
                <a:gd name="connsiteY14" fmla="*/ 377852 h 409299"/>
                <a:gd name="connsiteX15" fmla="*/ 0 w 439325"/>
                <a:gd name="connsiteY15" fmla="*/ 409300 h 409299"/>
                <a:gd name="connsiteX16" fmla="*/ 439326 w 439325"/>
                <a:gd name="connsiteY16" fmla="*/ 409300 h 409299"/>
                <a:gd name="connsiteX17" fmla="*/ 439326 w 439325"/>
                <a:gd name="connsiteY17" fmla="*/ 126343 h 409299"/>
                <a:gd name="connsiteX18" fmla="*/ 219247 w 439325"/>
                <a:gd name="connsiteY18" fmla="*/ 31464 h 409299"/>
                <a:gd name="connsiteX19" fmla="*/ 235343 w 439325"/>
                <a:gd name="connsiteY19" fmla="*/ 47560 h 409299"/>
                <a:gd name="connsiteX20" fmla="*/ 219247 w 439325"/>
                <a:gd name="connsiteY20" fmla="*/ 63657 h 409299"/>
                <a:gd name="connsiteX21" fmla="*/ 203150 w 439325"/>
                <a:gd name="connsiteY21" fmla="*/ 47560 h 409299"/>
                <a:gd name="connsiteX22" fmla="*/ 219247 w 439325"/>
                <a:gd name="connsiteY22" fmla="*/ 31481 h 409299"/>
                <a:gd name="connsiteX23" fmla="*/ 219247 w 439325"/>
                <a:gd name="connsiteY23" fmla="*/ 220980 h 409299"/>
                <a:gd name="connsiteX24" fmla="*/ 140332 w 439325"/>
                <a:gd name="connsiteY24" fmla="*/ 142051 h 409299"/>
                <a:gd name="connsiteX25" fmla="*/ 179630 w 439325"/>
                <a:gd name="connsiteY25" fmla="*/ 73804 h 409299"/>
                <a:gd name="connsiteX26" fmla="*/ 245469 w 439325"/>
                <a:gd name="connsiteY26" fmla="*/ 87198 h 409299"/>
                <a:gd name="connsiteX27" fmla="*/ 258864 w 439325"/>
                <a:gd name="connsiteY27" fmla="*/ 73804 h 409299"/>
                <a:gd name="connsiteX28" fmla="*/ 287543 w 439325"/>
                <a:gd name="connsiteY28" fmla="*/ 181668 h 409299"/>
                <a:gd name="connsiteX29" fmla="*/ 219247 w 439325"/>
                <a:gd name="connsiteY29" fmla="*/ 220998 h 40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325" h="409299">
                  <a:moveTo>
                    <a:pt x="328523" y="126343"/>
                  </a:moveTo>
                  <a:cubicBezTo>
                    <a:pt x="323203" y="89753"/>
                    <a:pt x="299964" y="58236"/>
                    <a:pt x="266582" y="42339"/>
                  </a:cubicBezTo>
                  <a:cubicBezTo>
                    <a:pt x="263705" y="16240"/>
                    <a:pt x="240215" y="-2587"/>
                    <a:pt x="214116" y="290"/>
                  </a:cubicBezTo>
                  <a:cubicBezTo>
                    <a:pt x="191981" y="2731"/>
                    <a:pt x="174506" y="20205"/>
                    <a:pt x="172067" y="42339"/>
                  </a:cubicBezTo>
                  <a:cubicBezTo>
                    <a:pt x="138623" y="58195"/>
                    <a:pt x="115320" y="89720"/>
                    <a:pt x="109970" y="126343"/>
                  </a:cubicBezTo>
                  <a:lnTo>
                    <a:pt x="0" y="126343"/>
                  </a:lnTo>
                  <a:lnTo>
                    <a:pt x="0" y="346440"/>
                  </a:lnTo>
                  <a:lnTo>
                    <a:pt x="31447" y="346440"/>
                  </a:lnTo>
                  <a:lnTo>
                    <a:pt x="31447" y="157808"/>
                  </a:lnTo>
                  <a:lnTo>
                    <a:pt x="109970" y="157808"/>
                  </a:lnTo>
                  <a:cubicBezTo>
                    <a:pt x="118660" y="218130"/>
                    <a:pt x="174606" y="259988"/>
                    <a:pt x="234929" y="251298"/>
                  </a:cubicBezTo>
                  <a:cubicBezTo>
                    <a:pt x="283378" y="244319"/>
                    <a:pt x="321439" y="206257"/>
                    <a:pt x="328419" y="157808"/>
                  </a:cubicBezTo>
                  <a:lnTo>
                    <a:pt x="407826" y="157808"/>
                  </a:lnTo>
                  <a:lnTo>
                    <a:pt x="407826" y="377852"/>
                  </a:lnTo>
                  <a:lnTo>
                    <a:pt x="0" y="377852"/>
                  </a:lnTo>
                  <a:lnTo>
                    <a:pt x="0" y="409300"/>
                  </a:lnTo>
                  <a:lnTo>
                    <a:pt x="439326" y="409300"/>
                  </a:lnTo>
                  <a:lnTo>
                    <a:pt x="439326" y="126343"/>
                  </a:lnTo>
                  <a:close/>
                  <a:moveTo>
                    <a:pt x="219247" y="31464"/>
                  </a:moveTo>
                  <a:cubicBezTo>
                    <a:pt x="228136" y="31464"/>
                    <a:pt x="235343" y="38671"/>
                    <a:pt x="235343" y="47560"/>
                  </a:cubicBezTo>
                  <a:cubicBezTo>
                    <a:pt x="235343" y="56450"/>
                    <a:pt x="228136" y="63657"/>
                    <a:pt x="219247" y="63657"/>
                  </a:cubicBezTo>
                  <a:cubicBezTo>
                    <a:pt x="210357" y="63657"/>
                    <a:pt x="203150" y="56450"/>
                    <a:pt x="203150" y="47560"/>
                  </a:cubicBezTo>
                  <a:cubicBezTo>
                    <a:pt x="203178" y="38685"/>
                    <a:pt x="210371" y="31500"/>
                    <a:pt x="219247" y="31481"/>
                  </a:cubicBezTo>
                  <a:close/>
                  <a:moveTo>
                    <a:pt x="219247" y="220980"/>
                  </a:moveTo>
                  <a:cubicBezTo>
                    <a:pt x="175659" y="220977"/>
                    <a:pt x="140328" y="185639"/>
                    <a:pt x="140332" y="142051"/>
                  </a:cubicBezTo>
                  <a:cubicBezTo>
                    <a:pt x="140333" y="113926"/>
                    <a:pt x="155304" y="87925"/>
                    <a:pt x="179630" y="73804"/>
                  </a:cubicBezTo>
                  <a:cubicBezTo>
                    <a:pt x="194111" y="95684"/>
                    <a:pt x="223590" y="101682"/>
                    <a:pt x="245469" y="87198"/>
                  </a:cubicBezTo>
                  <a:cubicBezTo>
                    <a:pt x="250788" y="83679"/>
                    <a:pt x="255342" y="79122"/>
                    <a:pt x="258864" y="73804"/>
                  </a:cubicBezTo>
                  <a:cubicBezTo>
                    <a:pt x="296569" y="95671"/>
                    <a:pt x="309408" y="143963"/>
                    <a:pt x="287543" y="181668"/>
                  </a:cubicBezTo>
                  <a:cubicBezTo>
                    <a:pt x="273420" y="206020"/>
                    <a:pt x="247397" y="221006"/>
                    <a:pt x="219247" y="220998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4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4141" y="2217188"/>
            <a:ext cx="2245921" cy="53686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бор</a:t>
            </a:r>
            <a:r>
              <a:rPr kumimoji="0" lang="ru-RU" sz="1122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нформации о состоянии строительных конструкций датчиками</a:t>
            </a:r>
            <a:endParaRPr kumimoji="0" lang="ru-RU" sz="1122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3446" y="3996555"/>
            <a:ext cx="2147309" cy="36419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Обработка и хранение информации на сервере</a:t>
            </a:r>
            <a:endParaRPr kumimoji="0" lang="ru-RU" sz="1122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reeform 79"/>
          <p:cNvSpPr>
            <a:spLocks noEditPoints="1"/>
          </p:cNvSpPr>
          <p:nvPr/>
        </p:nvSpPr>
        <p:spPr bwMode="auto">
          <a:xfrm>
            <a:off x="3214719" y="3996556"/>
            <a:ext cx="335696" cy="364192"/>
          </a:xfrm>
          <a:custGeom>
            <a:avLst/>
            <a:gdLst/>
            <a:ahLst/>
            <a:cxnLst>
              <a:cxn ang="0">
                <a:pos x="51" y="1"/>
              </a:cxn>
              <a:cxn ang="0">
                <a:pos x="973" y="0"/>
              </a:cxn>
              <a:cxn ang="0">
                <a:pos x="1026" y="616"/>
              </a:cxn>
              <a:cxn ang="0">
                <a:pos x="973" y="310"/>
              </a:cxn>
              <a:cxn ang="0">
                <a:pos x="51" y="975"/>
              </a:cxn>
              <a:cxn ang="0">
                <a:pos x="666" y="759"/>
              </a:cxn>
              <a:cxn ang="0">
                <a:pos x="1026" y="668"/>
              </a:cxn>
              <a:cxn ang="0">
                <a:pos x="1009" y="719"/>
              </a:cxn>
              <a:cxn ang="0">
                <a:pos x="709" y="1019"/>
              </a:cxn>
              <a:cxn ang="0">
                <a:pos x="0" y="1026"/>
              </a:cxn>
              <a:cxn ang="0">
                <a:pos x="51" y="0"/>
              </a:cxn>
              <a:cxn ang="0">
                <a:pos x="358" y="668"/>
              </a:cxn>
              <a:cxn ang="0">
                <a:pos x="153" y="873"/>
              </a:cxn>
              <a:cxn ang="0">
                <a:pos x="179" y="668"/>
              </a:cxn>
              <a:cxn ang="0">
                <a:pos x="205" y="719"/>
              </a:cxn>
              <a:cxn ang="0">
                <a:pos x="307" y="821"/>
              </a:cxn>
              <a:cxn ang="0">
                <a:pos x="436" y="668"/>
              </a:cxn>
              <a:cxn ang="0">
                <a:pos x="615" y="873"/>
              </a:cxn>
              <a:cxn ang="0">
                <a:pos x="410" y="668"/>
              </a:cxn>
              <a:cxn ang="0">
                <a:pos x="563" y="719"/>
              </a:cxn>
              <a:cxn ang="0">
                <a:pos x="461" y="821"/>
              </a:cxn>
              <a:cxn ang="0">
                <a:pos x="563" y="719"/>
              </a:cxn>
              <a:cxn ang="0">
                <a:pos x="871" y="410"/>
              </a:cxn>
              <a:cxn ang="0">
                <a:pos x="666" y="616"/>
              </a:cxn>
              <a:cxn ang="0">
                <a:pos x="692" y="410"/>
              </a:cxn>
              <a:cxn ang="0">
                <a:pos x="717" y="463"/>
              </a:cxn>
              <a:cxn ang="0">
                <a:pos x="820" y="565"/>
              </a:cxn>
              <a:cxn ang="0">
                <a:pos x="436" y="410"/>
              </a:cxn>
              <a:cxn ang="0">
                <a:pos x="615" y="616"/>
              </a:cxn>
              <a:cxn ang="0">
                <a:pos x="410" y="410"/>
              </a:cxn>
              <a:cxn ang="0">
                <a:pos x="563" y="463"/>
              </a:cxn>
              <a:cxn ang="0">
                <a:pos x="461" y="565"/>
              </a:cxn>
              <a:cxn ang="0">
                <a:pos x="563" y="463"/>
              </a:cxn>
              <a:cxn ang="0">
                <a:pos x="358" y="410"/>
              </a:cxn>
              <a:cxn ang="0">
                <a:pos x="153" y="616"/>
              </a:cxn>
              <a:cxn ang="0">
                <a:pos x="179" y="410"/>
              </a:cxn>
              <a:cxn ang="0">
                <a:pos x="205" y="463"/>
              </a:cxn>
              <a:cxn ang="0">
                <a:pos x="307" y="565"/>
              </a:cxn>
              <a:cxn ang="0">
                <a:pos x="973" y="259"/>
              </a:cxn>
              <a:cxn ang="0">
                <a:pos x="51" y="52"/>
              </a:cxn>
              <a:cxn ang="0">
                <a:pos x="973" y="259"/>
              </a:cxn>
              <a:cxn ang="0">
                <a:pos x="937" y="719"/>
              </a:cxn>
              <a:cxn ang="0">
                <a:pos x="717" y="781"/>
              </a:cxn>
            </a:cxnLst>
            <a:rect l="0" t="0" r="r" b="b"/>
            <a:pathLst>
              <a:path w="1026" h="1026">
                <a:moveTo>
                  <a:pt x="51" y="0"/>
                </a:moveTo>
                <a:lnTo>
                  <a:pt x="51" y="1"/>
                </a:lnTo>
                <a:lnTo>
                  <a:pt x="973" y="1"/>
                </a:lnTo>
                <a:lnTo>
                  <a:pt x="973" y="0"/>
                </a:lnTo>
                <a:lnTo>
                  <a:pt x="1026" y="0"/>
                </a:lnTo>
                <a:lnTo>
                  <a:pt x="1026" y="616"/>
                </a:lnTo>
                <a:lnTo>
                  <a:pt x="973" y="616"/>
                </a:lnTo>
                <a:lnTo>
                  <a:pt x="973" y="310"/>
                </a:lnTo>
                <a:lnTo>
                  <a:pt x="51" y="310"/>
                </a:lnTo>
                <a:lnTo>
                  <a:pt x="51" y="975"/>
                </a:lnTo>
                <a:lnTo>
                  <a:pt x="666" y="975"/>
                </a:lnTo>
                <a:lnTo>
                  <a:pt x="666" y="759"/>
                </a:lnTo>
                <a:lnTo>
                  <a:pt x="757" y="668"/>
                </a:lnTo>
                <a:lnTo>
                  <a:pt x="1026" y="668"/>
                </a:lnTo>
                <a:lnTo>
                  <a:pt x="1026" y="704"/>
                </a:lnTo>
                <a:lnTo>
                  <a:pt x="1009" y="719"/>
                </a:lnTo>
                <a:lnTo>
                  <a:pt x="1009" y="719"/>
                </a:lnTo>
                <a:lnTo>
                  <a:pt x="709" y="1019"/>
                </a:lnTo>
                <a:lnTo>
                  <a:pt x="702" y="1026"/>
                </a:lnTo>
                <a:lnTo>
                  <a:pt x="0" y="1026"/>
                </a:lnTo>
                <a:lnTo>
                  <a:pt x="0" y="0"/>
                </a:lnTo>
                <a:lnTo>
                  <a:pt x="51" y="0"/>
                </a:lnTo>
                <a:close/>
                <a:moveTo>
                  <a:pt x="179" y="668"/>
                </a:moveTo>
                <a:lnTo>
                  <a:pt x="358" y="668"/>
                </a:lnTo>
                <a:lnTo>
                  <a:pt x="358" y="873"/>
                </a:lnTo>
                <a:lnTo>
                  <a:pt x="153" y="873"/>
                </a:lnTo>
                <a:lnTo>
                  <a:pt x="153" y="668"/>
                </a:lnTo>
                <a:lnTo>
                  <a:pt x="179" y="668"/>
                </a:lnTo>
                <a:close/>
                <a:moveTo>
                  <a:pt x="307" y="719"/>
                </a:moveTo>
                <a:lnTo>
                  <a:pt x="205" y="719"/>
                </a:lnTo>
                <a:lnTo>
                  <a:pt x="205" y="821"/>
                </a:lnTo>
                <a:lnTo>
                  <a:pt x="307" y="821"/>
                </a:lnTo>
                <a:lnTo>
                  <a:pt x="307" y="719"/>
                </a:lnTo>
                <a:close/>
                <a:moveTo>
                  <a:pt x="436" y="668"/>
                </a:moveTo>
                <a:lnTo>
                  <a:pt x="615" y="668"/>
                </a:lnTo>
                <a:lnTo>
                  <a:pt x="615" y="873"/>
                </a:lnTo>
                <a:lnTo>
                  <a:pt x="410" y="873"/>
                </a:lnTo>
                <a:lnTo>
                  <a:pt x="410" y="668"/>
                </a:lnTo>
                <a:lnTo>
                  <a:pt x="436" y="668"/>
                </a:lnTo>
                <a:close/>
                <a:moveTo>
                  <a:pt x="563" y="719"/>
                </a:moveTo>
                <a:lnTo>
                  <a:pt x="461" y="719"/>
                </a:lnTo>
                <a:lnTo>
                  <a:pt x="461" y="821"/>
                </a:lnTo>
                <a:lnTo>
                  <a:pt x="563" y="821"/>
                </a:lnTo>
                <a:lnTo>
                  <a:pt x="563" y="719"/>
                </a:lnTo>
                <a:close/>
                <a:moveTo>
                  <a:pt x="692" y="410"/>
                </a:moveTo>
                <a:lnTo>
                  <a:pt x="871" y="410"/>
                </a:lnTo>
                <a:lnTo>
                  <a:pt x="871" y="616"/>
                </a:lnTo>
                <a:lnTo>
                  <a:pt x="666" y="616"/>
                </a:lnTo>
                <a:lnTo>
                  <a:pt x="666" y="410"/>
                </a:lnTo>
                <a:lnTo>
                  <a:pt x="692" y="410"/>
                </a:lnTo>
                <a:close/>
                <a:moveTo>
                  <a:pt x="820" y="463"/>
                </a:moveTo>
                <a:lnTo>
                  <a:pt x="717" y="463"/>
                </a:lnTo>
                <a:lnTo>
                  <a:pt x="717" y="565"/>
                </a:lnTo>
                <a:lnTo>
                  <a:pt x="820" y="565"/>
                </a:lnTo>
                <a:lnTo>
                  <a:pt x="820" y="463"/>
                </a:lnTo>
                <a:close/>
                <a:moveTo>
                  <a:pt x="436" y="410"/>
                </a:moveTo>
                <a:lnTo>
                  <a:pt x="615" y="410"/>
                </a:lnTo>
                <a:lnTo>
                  <a:pt x="615" y="616"/>
                </a:lnTo>
                <a:lnTo>
                  <a:pt x="410" y="616"/>
                </a:lnTo>
                <a:lnTo>
                  <a:pt x="410" y="410"/>
                </a:lnTo>
                <a:lnTo>
                  <a:pt x="436" y="410"/>
                </a:lnTo>
                <a:close/>
                <a:moveTo>
                  <a:pt x="563" y="463"/>
                </a:moveTo>
                <a:lnTo>
                  <a:pt x="461" y="463"/>
                </a:lnTo>
                <a:lnTo>
                  <a:pt x="461" y="565"/>
                </a:lnTo>
                <a:lnTo>
                  <a:pt x="563" y="565"/>
                </a:lnTo>
                <a:lnTo>
                  <a:pt x="563" y="463"/>
                </a:lnTo>
                <a:close/>
                <a:moveTo>
                  <a:pt x="179" y="410"/>
                </a:moveTo>
                <a:lnTo>
                  <a:pt x="358" y="410"/>
                </a:lnTo>
                <a:lnTo>
                  <a:pt x="358" y="616"/>
                </a:lnTo>
                <a:lnTo>
                  <a:pt x="153" y="616"/>
                </a:lnTo>
                <a:lnTo>
                  <a:pt x="153" y="410"/>
                </a:lnTo>
                <a:lnTo>
                  <a:pt x="179" y="410"/>
                </a:lnTo>
                <a:close/>
                <a:moveTo>
                  <a:pt x="307" y="463"/>
                </a:moveTo>
                <a:lnTo>
                  <a:pt x="205" y="463"/>
                </a:lnTo>
                <a:lnTo>
                  <a:pt x="205" y="565"/>
                </a:lnTo>
                <a:lnTo>
                  <a:pt x="307" y="565"/>
                </a:lnTo>
                <a:lnTo>
                  <a:pt x="307" y="463"/>
                </a:lnTo>
                <a:close/>
                <a:moveTo>
                  <a:pt x="973" y="259"/>
                </a:moveTo>
                <a:lnTo>
                  <a:pt x="973" y="52"/>
                </a:lnTo>
                <a:lnTo>
                  <a:pt x="51" y="52"/>
                </a:lnTo>
                <a:lnTo>
                  <a:pt x="51" y="259"/>
                </a:lnTo>
                <a:lnTo>
                  <a:pt x="973" y="259"/>
                </a:lnTo>
                <a:close/>
                <a:moveTo>
                  <a:pt x="717" y="939"/>
                </a:moveTo>
                <a:lnTo>
                  <a:pt x="937" y="719"/>
                </a:lnTo>
                <a:lnTo>
                  <a:pt x="779" y="719"/>
                </a:lnTo>
                <a:lnTo>
                  <a:pt x="717" y="781"/>
                </a:lnTo>
                <a:lnTo>
                  <a:pt x="717" y="939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727" y="5871048"/>
            <a:ext cx="2147309" cy="53686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Вывод информации о состоянии строительных конструкций оператору</a:t>
            </a:r>
            <a:endParaRPr kumimoji="0" lang="ru-RU" sz="1122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6" name="Graphic 76">
            <a:extLst>
              <a:ext uri="{FF2B5EF4-FFF2-40B4-BE49-F238E27FC236}">
                <a16:creationId xmlns:a16="http://schemas.microsoft.com/office/drawing/2014/main" xmlns="" id="{9DC5AA89-389A-4374-B677-56C9730D49B9}"/>
              </a:ext>
            </a:extLst>
          </p:cNvPr>
          <p:cNvGrpSpPr/>
          <p:nvPr/>
        </p:nvGrpSpPr>
        <p:grpSpPr>
          <a:xfrm>
            <a:off x="3475829" y="3105216"/>
            <a:ext cx="241209" cy="235358"/>
            <a:chOff x="10161100" y="1087251"/>
            <a:chExt cx="762060" cy="762060"/>
          </a:xfrm>
        </p:grpSpPr>
        <p:sp>
          <p:nvSpPr>
            <p:cNvPr id="67" name="Полилиния: фигура 35">
              <a:extLst>
                <a:ext uri="{FF2B5EF4-FFF2-40B4-BE49-F238E27FC236}">
                  <a16:creationId xmlns:a16="http://schemas.microsoft.com/office/drawing/2014/main" xmlns="" id="{ADE00898-07A0-451E-9388-BFA13B6E4E53}"/>
                </a:ext>
              </a:extLst>
            </p:cNvPr>
            <p:cNvSpPr/>
            <p:nvPr/>
          </p:nvSpPr>
          <p:spPr>
            <a:xfrm>
              <a:off x="10465508" y="1571817"/>
              <a:ext cx="153243" cy="153243"/>
            </a:xfrm>
            <a:custGeom>
              <a:avLst/>
              <a:gdLst>
                <a:gd name="connsiteX0" fmla="*/ 76622 w 153243"/>
                <a:gd name="connsiteY0" fmla="*/ 153243 h 153243"/>
                <a:gd name="connsiteX1" fmla="*/ 0 w 153243"/>
                <a:gd name="connsiteY1" fmla="*/ 76622 h 153243"/>
                <a:gd name="connsiteX2" fmla="*/ 76622 w 153243"/>
                <a:gd name="connsiteY2" fmla="*/ 0 h 153243"/>
                <a:gd name="connsiteX3" fmla="*/ 153243 w 153243"/>
                <a:gd name="connsiteY3" fmla="*/ 76587 h 153243"/>
                <a:gd name="connsiteX4" fmla="*/ 76622 w 153243"/>
                <a:gd name="connsiteY4" fmla="*/ 153243 h 153243"/>
                <a:gd name="connsiteX5" fmla="*/ 76622 w 153243"/>
                <a:gd name="connsiteY5" fmla="*/ 31418 h 153243"/>
                <a:gd name="connsiteX6" fmla="*/ 31400 w 153243"/>
                <a:gd name="connsiteY6" fmla="*/ 76639 h 153243"/>
                <a:gd name="connsiteX7" fmla="*/ 76622 w 153243"/>
                <a:gd name="connsiteY7" fmla="*/ 121860 h 153243"/>
                <a:gd name="connsiteX8" fmla="*/ 121843 w 153243"/>
                <a:gd name="connsiteY8" fmla="*/ 76639 h 153243"/>
                <a:gd name="connsiteX9" fmla="*/ 121843 w 153243"/>
                <a:gd name="connsiteY9" fmla="*/ 76587 h 153243"/>
                <a:gd name="connsiteX10" fmla="*/ 76622 w 153243"/>
                <a:gd name="connsiteY10" fmla="*/ 31418 h 15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243" h="153243">
                  <a:moveTo>
                    <a:pt x="76622" y="153243"/>
                  </a:moveTo>
                  <a:cubicBezTo>
                    <a:pt x="34305" y="153243"/>
                    <a:pt x="0" y="118939"/>
                    <a:pt x="0" y="76622"/>
                  </a:cubicBezTo>
                  <a:cubicBezTo>
                    <a:pt x="0" y="34305"/>
                    <a:pt x="34305" y="0"/>
                    <a:pt x="76622" y="0"/>
                  </a:cubicBezTo>
                  <a:cubicBezTo>
                    <a:pt x="118925" y="0"/>
                    <a:pt x="153224" y="34284"/>
                    <a:pt x="153243" y="76587"/>
                  </a:cubicBezTo>
                  <a:cubicBezTo>
                    <a:pt x="153214" y="118899"/>
                    <a:pt x="118932" y="153195"/>
                    <a:pt x="76622" y="153243"/>
                  </a:cubicBezTo>
                  <a:close/>
                  <a:moveTo>
                    <a:pt x="76622" y="31418"/>
                  </a:moveTo>
                  <a:cubicBezTo>
                    <a:pt x="51647" y="31418"/>
                    <a:pt x="31400" y="51664"/>
                    <a:pt x="31400" y="76639"/>
                  </a:cubicBezTo>
                  <a:cubicBezTo>
                    <a:pt x="31400" y="101614"/>
                    <a:pt x="51647" y="121860"/>
                    <a:pt x="76622" y="121860"/>
                  </a:cubicBezTo>
                  <a:cubicBezTo>
                    <a:pt x="101596" y="121860"/>
                    <a:pt x="121843" y="101614"/>
                    <a:pt x="121843" y="76639"/>
                  </a:cubicBezTo>
                  <a:cubicBezTo>
                    <a:pt x="121843" y="76622"/>
                    <a:pt x="121843" y="76604"/>
                    <a:pt x="121843" y="76587"/>
                  </a:cubicBezTo>
                  <a:cubicBezTo>
                    <a:pt x="121786" y="51643"/>
                    <a:pt x="101565" y="31447"/>
                    <a:pt x="76622" y="31418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: фигура 36">
              <a:extLst>
                <a:ext uri="{FF2B5EF4-FFF2-40B4-BE49-F238E27FC236}">
                  <a16:creationId xmlns:a16="http://schemas.microsoft.com/office/drawing/2014/main" xmlns="" id="{955D27DF-5E0B-4DD3-8B97-E9EE097245ED}"/>
                </a:ext>
              </a:extLst>
            </p:cNvPr>
            <p:cNvSpPr/>
            <p:nvPr/>
          </p:nvSpPr>
          <p:spPr>
            <a:xfrm>
              <a:off x="10281245" y="1211501"/>
              <a:ext cx="521768" cy="111572"/>
            </a:xfrm>
            <a:custGeom>
              <a:avLst/>
              <a:gdLst>
                <a:gd name="connsiteX0" fmla="*/ 502994 w 521768"/>
                <a:gd name="connsiteY0" fmla="*/ 111572 h 111572"/>
                <a:gd name="connsiteX1" fmla="*/ 18757 w 521768"/>
                <a:gd name="connsiteY1" fmla="*/ 111572 h 111572"/>
                <a:gd name="connsiteX2" fmla="*/ 0 w 521768"/>
                <a:gd name="connsiteY2" fmla="*/ 86390 h 111572"/>
                <a:gd name="connsiteX3" fmla="*/ 521769 w 521768"/>
                <a:gd name="connsiteY3" fmla="*/ 86390 h 111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1768" h="111572">
                  <a:moveTo>
                    <a:pt x="502994" y="111572"/>
                  </a:moveTo>
                  <a:cubicBezTo>
                    <a:pt x="359280" y="4674"/>
                    <a:pt x="162471" y="4674"/>
                    <a:pt x="18757" y="111572"/>
                  </a:cubicBezTo>
                  <a:lnTo>
                    <a:pt x="0" y="86390"/>
                  </a:lnTo>
                  <a:cubicBezTo>
                    <a:pt x="154851" y="-28797"/>
                    <a:pt x="366918" y="-28797"/>
                    <a:pt x="521769" y="86390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: фигура 37">
              <a:extLst>
                <a:ext uri="{FF2B5EF4-FFF2-40B4-BE49-F238E27FC236}">
                  <a16:creationId xmlns:a16="http://schemas.microsoft.com/office/drawing/2014/main" xmlns="" id="{42303C7D-D60B-4ABF-8D2B-54D0530DE05E}"/>
                </a:ext>
              </a:extLst>
            </p:cNvPr>
            <p:cNvSpPr/>
            <p:nvPr/>
          </p:nvSpPr>
          <p:spPr>
            <a:xfrm>
              <a:off x="10407851" y="1452679"/>
              <a:ext cx="268556" cy="76220"/>
            </a:xfrm>
            <a:custGeom>
              <a:avLst/>
              <a:gdLst>
                <a:gd name="connsiteX0" fmla="*/ 246994 w 268556"/>
                <a:gd name="connsiteY0" fmla="*/ 76220 h 76220"/>
                <a:gd name="connsiteX1" fmla="*/ 21563 w 268556"/>
                <a:gd name="connsiteY1" fmla="*/ 76220 h 76220"/>
                <a:gd name="connsiteX2" fmla="*/ 0 w 268556"/>
                <a:gd name="connsiteY2" fmla="*/ 53376 h 76220"/>
                <a:gd name="connsiteX3" fmla="*/ 268557 w 268556"/>
                <a:gd name="connsiteY3" fmla="*/ 53376 h 7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556" h="76220">
                  <a:moveTo>
                    <a:pt x="246994" y="76220"/>
                  </a:moveTo>
                  <a:cubicBezTo>
                    <a:pt x="183733" y="16457"/>
                    <a:pt x="84824" y="16457"/>
                    <a:pt x="21563" y="76220"/>
                  </a:cubicBezTo>
                  <a:lnTo>
                    <a:pt x="0" y="53376"/>
                  </a:lnTo>
                  <a:cubicBezTo>
                    <a:pt x="75375" y="-17792"/>
                    <a:pt x="193182" y="-17792"/>
                    <a:pt x="268557" y="53376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Полилиния: фигура 38">
              <a:extLst>
                <a:ext uri="{FF2B5EF4-FFF2-40B4-BE49-F238E27FC236}">
                  <a16:creationId xmlns:a16="http://schemas.microsoft.com/office/drawing/2014/main" xmlns="" id="{9A5DDB1A-7B78-473C-BE5B-1D5F5BD593F8}"/>
                </a:ext>
              </a:extLst>
            </p:cNvPr>
            <p:cNvSpPr/>
            <p:nvPr/>
          </p:nvSpPr>
          <p:spPr>
            <a:xfrm>
              <a:off x="10344219" y="1331372"/>
              <a:ext cx="395838" cy="93903"/>
            </a:xfrm>
            <a:custGeom>
              <a:avLst/>
              <a:gdLst>
                <a:gd name="connsiteX0" fmla="*/ 376302 w 395838"/>
                <a:gd name="connsiteY0" fmla="*/ 93904 h 93903"/>
                <a:gd name="connsiteX1" fmla="*/ 19692 w 395838"/>
                <a:gd name="connsiteY1" fmla="*/ 93904 h 93903"/>
                <a:gd name="connsiteX2" fmla="*/ 0 w 395838"/>
                <a:gd name="connsiteY2" fmla="*/ 69362 h 93903"/>
                <a:gd name="connsiteX3" fmla="*/ 395838 w 395838"/>
                <a:gd name="connsiteY3" fmla="*/ 69362 h 93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838" h="93903">
                  <a:moveTo>
                    <a:pt x="376302" y="93904"/>
                  </a:moveTo>
                  <a:cubicBezTo>
                    <a:pt x="272031" y="10587"/>
                    <a:pt x="123963" y="10587"/>
                    <a:pt x="19692" y="93904"/>
                  </a:cubicBezTo>
                  <a:lnTo>
                    <a:pt x="0" y="69362"/>
                  </a:lnTo>
                  <a:cubicBezTo>
                    <a:pt x="115740" y="-23121"/>
                    <a:pt x="280099" y="-23121"/>
                    <a:pt x="395838" y="69362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83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0366" y="3036053"/>
            <a:ext cx="2245921" cy="36419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едача информации по беспроводной связи</a:t>
            </a:r>
          </a:p>
        </p:txBody>
      </p:sp>
      <p:grpSp>
        <p:nvGrpSpPr>
          <p:cNvPr id="85" name="Graphic 112">
            <a:extLst>
              <a:ext uri="{FF2B5EF4-FFF2-40B4-BE49-F238E27FC236}">
                <a16:creationId xmlns:a16="http://schemas.microsoft.com/office/drawing/2014/main" xmlns="" id="{ED329D55-54EA-44B2-BC8A-0EA6D3523586}"/>
              </a:ext>
            </a:extLst>
          </p:cNvPr>
          <p:cNvGrpSpPr/>
          <p:nvPr/>
        </p:nvGrpSpPr>
        <p:grpSpPr>
          <a:xfrm>
            <a:off x="3159312" y="5954563"/>
            <a:ext cx="456347" cy="427372"/>
            <a:chOff x="8382853" y="1967432"/>
            <a:chExt cx="763200" cy="763200"/>
          </a:xfrm>
        </p:grpSpPr>
        <p:sp>
          <p:nvSpPr>
            <p:cNvPr id="86" name="Полилиния: фигура 1000">
              <a:extLst>
                <a:ext uri="{FF2B5EF4-FFF2-40B4-BE49-F238E27FC236}">
                  <a16:creationId xmlns:a16="http://schemas.microsoft.com/office/drawing/2014/main" xmlns="" id="{6B27A3A7-066B-4BB7-9DA9-DA0F968A9908}"/>
                </a:ext>
              </a:extLst>
            </p:cNvPr>
            <p:cNvSpPr/>
            <p:nvPr/>
          </p:nvSpPr>
          <p:spPr>
            <a:xfrm>
              <a:off x="8766933" y="2207545"/>
              <a:ext cx="75990" cy="76007"/>
            </a:xfrm>
            <a:custGeom>
              <a:avLst/>
              <a:gdLst>
                <a:gd name="connsiteX0" fmla="*/ 31447 w 75990"/>
                <a:gd name="connsiteY0" fmla="*/ 76008 h 76007"/>
                <a:gd name="connsiteX1" fmla="*/ 75990 w 75990"/>
                <a:gd name="connsiteY1" fmla="*/ 31465 h 76007"/>
                <a:gd name="connsiteX2" fmla="*/ 75990 w 75990"/>
                <a:gd name="connsiteY2" fmla="*/ 0 h 76007"/>
                <a:gd name="connsiteX3" fmla="*/ 0 w 75990"/>
                <a:gd name="connsiteY3" fmla="*/ 76008 h 7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90" h="76007">
                  <a:moveTo>
                    <a:pt x="31447" y="76008"/>
                  </a:moveTo>
                  <a:cubicBezTo>
                    <a:pt x="31477" y="51419"/>
                    <a:pt x="51402" y="31494"/>
                    <a:pt x="75990" y="31465"/>
                  </a:cubicBezTo>
                  <a:lnTo>
                    <a:pt x="75990" y="0"/>
                  </a:lnTo>
                  <a:cubicBezTo>
                    <a:pt x="34035" y="49"/>
                    <a:pt x="38" y="34053"/>
                    <a:pt x="0" y="76008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: фигура 1001">
              <a:extLst>
                <a:ext uri="{FF2B5EF4-FFF2-40B4-BE49-F238E27FC236}">
                  <a16:creationId xmlns:a16="http://schemas.microsoft.com/office/drawing/2014/main" xmlns="" id="{46008099-B40A-4D6B-8612-BC69FC9018A0}"/>
                </a:ext>
              </a:extLst>
            </p:cNvPr>
            <p:cNvSpPr/>
            <p:nvPr/>
          </p:nvSpPr>
          <p:spPr>
            <a:xfrm>
              <a:off x="8704056" y="2144685"/>
              <a:ext cx="138867" cy="138867"/>
            </a:xfrm>
            <a:custGeom>
              <a:avLst/>
              <a:gdLst>
                <a:gd name="connsiteX0" fmla="*/ 138868 w 138867"/>
                <a:gd name="connsiteY0" fmla="*/ 0 h 138867"/>
                <a:gd name="connsiteX1" fmla="*/ 0 w 138867"/>
                <a:gd name="connsiteY1" fmla="*/ 138868 h 138867"/>
                <a:gd name="connsiteX2" fmla="*/ 31447 w 138867"/>
                <a:gd name="connsiteY2" fmla="*/ 138868 h 138867"/>
                <a:gd name="connsiteX3" fmla="*/ 138868 w 138867"/>
                <a:gd name="connsiteY3" fmla="*/ 31447 h 13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67" h="138867">
                  <a:moveTo>
                    <a:pt x="138868" y="0"/>
                  </a:moveTo>
                  <a:cubicBezTo>
                    <a:pt x="62209" y="87"/>
                    <a:pt x="87" y="62209"/>
                    <a:pt x="0" y="138868"/>
                  </a:cubicBezTo>
                  <a:lnTo>
                    <a:pt x="31447" y="138868"/>
                  </a:lnTo>
                  <a:cubicBezTo>
                    <a:pt x="31515" y="79569"/>
                    <a:pt x="79569" y="31515"/>
                    <a:pt x="138868" y="31447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: фигура 1002">
              <a:extLst>
                <a:ext uri="{FF2B5EF4-FFF2-40B4-BE49-F238E27FC236}">
                  <a16:creationId xmlns:a16="http://schemas.microsoft.com/office/drawing/2014/main" xmlns="" id="{9B225EA0-6584-4728-80DE-0F6CB5B121BE}"/>
                </a:ext>
              </a:extLst>
            </p:cNvPr>
            <p:cNvSpPr/>
            <p:nvPr/>
          </p:nvSpPr>
          <p:spPr>
            <a:xfrm>
              <a:off x="8641178" y="2081790"/>
              <a:ext cx="201744" cy="201762"/>
            </a:xfrm>
            <a:custGeom>
              <a:avLst/>
              <a:gdLst>
                <a:gd name="connsiteX0" fmla="*/ 201745 w 201744"/>
                <a:gd name="connsiteY0" fmla="*/ 0 h 201762"/>
                <a:gd name="connsiteX1" fmla="*/ 0 w 201744"/>
                <a:gd name="connsiteY1" fmla="*/ 201762 h 201762"/>
                <a:gd name="connsiteX2" fmla="*/ 31447 w 201744"/>
                <a:gd name="connsiteY2" fmla="*/ 201762 h 201762"/>
                <a:gd name="connsiteX3" fmla="*/ 201745 w 201744"/>
                <a:gd name="connsiteY3" fmla="*/ 31465 h 201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744" h="201762">
                  <a:moveTo>
                    <a:pt x="201745" y="0"/>
                  </a:moveTo>
                  <a:cubicBezTo>
                    <a:pt x="90373" y="134"/>
                    <a:pt x="125" y="90391"/>
                    <a:pt x="0" y="201762"/>
                  </a:cubicBezTo>
                  <a:lnTo>
                    <a:pt x="31447" y="201762"/>
                  </a:lnTo>
                  <a:cubicBezTo>
                    <a:pt x="31553" y="107753"/>
                    <a:pt x="107736" y="31570"/>
                    <a:pt x="201745" y="31465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: фигура 1003">
              <a:extLst>
                <a:ext uri="{FF2B5EF4-FFF2-40B4-BE49-F238E27FC236}">
                  <a16:creationId xmlns:a16="http://schemas.microsoft.com/office/drawing/2014/main" xmlns="" id="{ADD6FE85-6362-4746-95F9-F451B867D545}"/>
                </a:ext>
              </a:extLst>
            </p:cNvPr>
            <p:cNvSpPr/>
            <p:nvPr/>
          </p:nvSpPr>
          <p:spPr>
            <a:xfrm>
              <a:off x="8450188" y="2034298"/>
              <a:ext cx="628529" cy="626552"/>
            </a:xfrm>
            <a:custGeom>
              <a:avLst/>
              <a:gdLst>
                <a:gd name="connsiteX0" fmla="*/ 377021 w 628529"/>
                <a:gd name="connsiteY0" fmla="*/ 233522 h 626552"/>
                <a:gd name="connsiteX1" fmla="*/ 377021 w 628529"/>
                <a:gd name="connsiteY1" fmla="*/ 347065 h 626552"/>
                <a:gd name="connsiteX2" fmla="*/ 31534 w 628529"/>
                <a:gd name="connsiteY2" fmla="*/ 347065 h 626552"/>
                <a:gd name="connsiteX3" fmla="*/ 31534 w 628529"/>
                <a:gd name="connsiteY3" fmla="*/ 31378 h 626552"/>
                <a:gd name="connsiteX4" fmla="*/ 439274 w 628529"/>
                <a:gd name="connsiteY4" fmla="*/ 31378 h 626552"/>
                <a:gd name="connsiteX5" fmla="*/ 439274 w 628529"/>
                <a:gd name="connsiteY5" fmla="*/ 204676 h 626552"/>
                <a:gd name="connsiteX6" fmla="*/ 470721 w 628529"/>
                <a:gd name="connsiteY6" fmla="*/ 204676 h 626552"/>
                <a:gd name="connsiteX7" fmla="*/ 470721 w 628529"/>
                <a:gd name="connsiteY7" fmla="*/ 0 h 626552"/>
                <a:gd name="connsiteX8" fmla="*/ 0 w 628529"/>
                <a:gd name="connsiteY8" fmla="*/ 0 h 626552"/>
                <a:gd name="connsiteX9" fmla="*/ 0 w 628529"/>
                <a:gd name="connsiteY9" fmla="*/ 378513 h 626552"/>
                <a:gd name="connsiteX10" fmla="*/ 161781 w 628529"/>
                <a:gd name="connsiteY10" fmla="*/ 378513 h 626552"/>
                <a:gd name="connsiteX11" fmla="*/ 161781 w 628529"/>
                <a:gd name="connsiteY11" fmla="*/ 439621 h 626552"/>
                <a:gd name="connsiteX12" fmla="*/ 120152 w 628529"/>
                <a:gd name="connsiteY12" fmla="*/ 439621 h 626552"/>
                <a:gd name="connsiteX13" fmla="*/ 120152 w 628529"/>
                <a:gd name="connsiteY13" fmla="*/ 471068 h 626552"/>
                <a:gd name="connsiteX14" fmla="*/ 351228 w 628529"/>
                <a:gd name="connsiteY14" fmla="*/ 471068 h 626552"/>
                <a:gd name="connsiteX15" fmla="*/ 351228 w 628529"/>
                <a:gd name="connsiteY15" fmla="*/ 439621 h 626552"/>
                <a:gd name="connsiteX16" fmla="*/ 308940 w 628529"/>
                <a:gd name="connsiteY16" fmla="*/ 439621 h 626552"/>
                <a:gd name="connsiteX17" fmla="*/ 308940 w 628529"/>
                <a:gd name="connsiteY17" fmla="*/ 378513 h 626552"/>
                <a:gd name="connsiteX18" fmla="*/ 377021 w 628529"/>
                <a:gd name="connsiteY18" fmla="*/ 378513 h 626552"/>
                <a:gd name="connsiteX19" fmla="*/ 377021 w 628529"/>
                <a:gd name="connsiteY19" fmla="*/ 626553 h 626552"/>
                <a:gd name="connsiteX20" fmla="*/ 628530 w 628529"/>
                <a:gd name="connsiteY20" fmla="*/ 626553 h 626552"/>
                <a:gd name="connsiteX21" fmla="*/ 628530 w 628529"/>
                <a:gd name="connsiteY21" fmla="*/ 233522 h 626552"/>
                <a:gd name="connsiteX22" fmla="*/ 277493 w 628529"/>
                <a:gd name="connsiteY22" fmla="*/ 439621 h 626552"/>
                <a:gd name="connsiteX23" fmla="*/ 193228 w 628529"/>
                <a:gd name="connsiteY23" fmla="*/ 439621 h 626552"/>
                <a:gd name="connsiteX24" fmla="*/ 193228 w 628529"/>
                <a:gd name="connsiteY24" fmla="*/ 378513 h 626552"/>
                <a:gd name="connsiteX25" fmla="*/ 277493 w 628529"/>
                <a:gd name="connsiteY25" fmla="*/ 378513 h 626552"/>
                <a:gd name="connsiteX26" fmla="*/ 597083 w 628529"/>
                <a:gd name="connsiteY26" fmla="*/ 595053 h 626552"/>
                <a:gd name="connsiteX27" fmla="*/ 408468 w 628529"/>
                <a:gd name="connsiteY27" fmla="*/ 595053 h 626552"/>
                <a:gd name="connsiteX28" fmla="*/ 408468 w 628529"/>
                <a:gd name="connsiteY28" fmla="*/ 563623 h 626552"/>
                <a:gd name="connsiteX29" fmla="*/ 597083 w 628529"/>
                <a:gd name="connsiteY29" fmla="*/ 563623 h 626552"/>
                <a:gd name="connsiteX30" fmla="*/ 597083 w 628529"/>
                <a:gd name="connsiteY30" fmla="*/ 358426 h 626552"/>
                <a:gd name="connsiteX31" fmla="*/ 597083 w 628529"/>
                <a:gd name="connsiteY31" fmla="*/ 532176 h 626552"/>
                <a:gd name="connsiteX32" fmla="*/ 408468 w 628529"/>
                <a:gd name="connsiteY32" fmla="*/ 532176 h 626552"/>
                <a:gd name="connsiteX33" fmla="*/ 408468 w 628529"/>
                <a:gd name="connsiteY33" fmla="*/ 327777 h 626552"/>
                <a:gd name="connsiteX34" fmla="*/ 597083 w 628529"/>
                <a:gd name="connsiteY34" fmla="*/ 327777 h 626552"/>
                <a:gd name="connsiteX35" fmla="*/ 597083 w 628529"/>
                <a:gd name="connsiteY35" fmla="*/ 296330 h 626552"/>
                <a:gd name="connsiteX36" fmla="*/ 408468 w 628529"/>
                <a:gd name="connsiteY36" fmla="*/ 296330 h 626552"/>
                <a:gd name="connsiteX37" fmla="*/ 408468 w 628529"/>
                <a:gd name="connsiteY37" fmla="*/ 264969 h 626552"/>
                <a:gd name="connsiteX38" fmla="*/ 597083 w 628529"/>
                <a:gd name="connsiteY38" fmla="*/ 264969 h 62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8529" h="626552">
                  <a:moveTo>
                    <a:pt x="377021" y="233522"/>
                  </a:moveTo>
                  <a:lnTo>
                    <a:pt x="377021" y="347065"/>
                  </a:lnTo>
                  <a:lnTo>
                    <a:pt x="31534" y="347065"/>
                  </a:lnTo>
                  <a:lnTo>
                    <a:pt x="31534" y="31378"/>
                  </a:lnTo>
                  <a:lnTo>
                    <a:pt x="439274" y="31378"/>
                  </a:lnTo>
                  <a:lnTo>
                    <a:pt x="439274" y="204676"/>
                  </a:lnTo>
                  <a:lnTo>
                    <a:pt x="470721" y="204676"/>
                  </a:lnTo>
                  <a:lnTo>
                    <a:pt x="470721" y="0"/>
                  </a:lnTo>
                  <a:lnTo>
                    <a:pt x="0" y="0"/>
                  </a:lnTo>
                  <a:lnTo>
                    <a:pt x="0" y="378513"/>
                  </a:lnTo>
                  <a:lnTo>
                    <a:pt x="161781" y="378513"/>
                  </a:lnTo>
                  <a:lnTo>
                    <a:pt x="161781" y="439621"/>
                  </a:lnTo>
                  <a:lnTo>
                    <a:pt x="120152" y="439621"/>
                  </a:lnTo>
                  <a:lnTo>
                    <a:pt x="120152" y="471068"/>
                  </a:lnTo>
                  <a:lnTo>
                    <a:pt x="351228" y="471068"/>
                  </a:lnTo>
                  <a:lnTo>
                    <a:pt x="351228" y="439621"/>
                  </a:lnTo>
                  <a:lnTo>
                    <a:pt x="308940" y="439621"/>
                  </a:lnTo>
                  <a:lnTo>
                    <a:pt x="308940" y="378513"/>
                  </a:lnTo>
                  <a:lnTo>
                    <a:pt x="377021" y="378513"/>
                  </a:lnTo>
                  <a:lnTo>
                    <a:pt x="377021" y="626553"/>
                  </a:lnTo>
                  <a:lnTo>
                    <a:pt x="628530" y="626553"/>
                  </a:lnTo>
                  <a:lnTo>
                    <a:pt x="628530" y="233522"/>
                  </a:lnTo>
                  <a:close/>
                  <a:moveTo>
                    <a:pt x="277493" y="439621"/>
                  </a:moveTo>
                  <a:lnTo>
                    <a:pt x="193228" y="439621"/>
                  </a:lnTo>
                  <a:lnTo>
                    <a:pt x="193228" y="378513"/>
                  </a:lnTo>
                  <a:lnTo>
                    <a:pt x="277493" y="378513"/>
                  </a:lnTo>
                  <a:close/>
                  <a:moveTo>
                    <a:pt x="597083" y="595053"/>
                  </a:moveTo>
                  <a:lnTo>
                    <a:pt x="408468" y="595053"/>
                  </a:lnTo>
                  <a:lnTo>
                    <a:pt x="408468" y="563623"/>
                  </a:lnTo>
                  <a:lnTo>
                    <a:pt x="597083" y="563623"/>
                  </a:lnTo>
                  <a:close/>
                  <a:moveTo>
                    <a:pt x="597083" y="358426"/>
                  </a:moveTo>
                  <a:lnTo>
                    <a:pt x="597083" y="532176"/>
                  </a:lnTo>
                  <a:lnTo>
                    <a:pt x="408468" y="532176"/>
                  </a:lnTo>
                  <a:lnTo>
                    <a:pt x="408468" y="327777"/>
                  </a:lnTo>
                  <a:lnTo>
                    <a:pt x="597083" y="327777"/>
                  </a:lnTo>
                  <a:close/>
                  <a:moveTo>
                    <a:pt x="597083" y="296330"/>
                  </a:moveTo>
                  <a:lnTo>
                    <a:pt x="408468" y="296330"/>
                  </a:lnTo>
                  <a:lnTo>
                    <a:pt x="408468" y="264969"/>
                  </a:lnTo>
                  <a:lnTo>
                    <a:pt x="597083" y="264969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" name="Graphic 126">
            <a:extLst>
              <a:ext uri="{FF2B5EF4-FFF2-40B4-BE49-F238E27FC236}">
                <a16:creationId xmlns:a16="http://schemas.microsoft.com/office/drawing/2014/main" xmlns="" id="{B6FA047A-C922-4826-B3A8-E627E09EAB99}"/>
              </a:ext>
            </a:extLst>
          </p:cNvPr>
          <p:cNvGrpSpPr/>
          <p:nvPr/>
        </p:nvGrpSpPr>
        <p:grpSpPr>
          <a:xfrm>
            <a:off x="3489833" y="4920732"/>
            <a:ext cx="311578" cy="356680"/>
            <a:chOff x="5727936" y="1968002"/>
            <a:chExt cx="762060" cy="762060"/>
          </a:xfrm>
        </p:grpSpPr>
        <p:sp>
          <p:nvSpPr>
            <p:cNvPr id="92" name="Полилиния: фигура 5">
              <a:extLst>
                <a:ext uri="{FF2B5EF4-FFF2-40B4-BE49-F238E27FC236}">
                  <a16:creationId xmlns:a16="http://schemas.microsoft.com/office/drawing/2014/main" xmlns="" id="{998455A4-D7F1-472E-97B3-18038F5C84E3}"/>
                </a:ext>
              </a:extLst>
            </p:cNvPr>
            <p:cNvSpPr/>
            <p:nvPr/>
          </p:nvSpPr>
          <p:spPr>
            <a:xfrm>
              <a:off x="5944759" y="2050806"/>
              <a:ext cx="328413" cy="328413"/>
            </a:xfrm>
            <a:custGeom>
              <a:avLst/>
              <a:gdLst>
                <a:gd name="connsiteX0" fmla="*/ 164207 w 328413"/>
                <a:gd name="connsiteY0" fmla="*/ 328413 h 328413"/>
                <a:gd name="connsiteX1" fmla="*/ 328413 w 328413"/>
                <a:gd name="connsiteY1" fmla="*/ 164207 h 328413"/>
                <a:gd name="connsiteX2" fmla="*/ 164207 w 328413"/>
                <a:gd name="connsiteY2" fmla="*/ 0 h 328413"/>
                <a:gd name="connsiteX3" fmla="*/ 0 w 328413"/>
                <a:gd name="connsiteY3" fmla="*/ 164207 h 328413"/>
                <a:gd name="connsiteX4" fmla="*/ 164207 w 328413"/>
                <a:gd name="connsiteY4" fmla="*/ 328413 h 328413"/>
                <a:gd name="connsiteX5" fmla="*/ 32353 w 328413"/>
                <a:gd name="connsiteY5" fmla="*/ 179915 h 328413"/>
                <a:gd name="connsiteX6" fmla="*/ 97267 w 328413"/>
                <a:gd name="connsiteY6" fmla="*/ 179915 h 328413"/>
                <a:gd name="connsiteX7" fmla="*/ 112941 w 328413"/>
                <a:gd name="connsiteY7" fmla="*/ 274359 h 328413"/>
                <a:gd name="connsiteX8" fmla="*/ 118760 w 328413"/>
                <a:gd name="connsiteY8" fmla="*/ 288994 h 328413"/>
                <a:gd name="connsiteX9" fmla="*/ 32353 w 328413"/>
                <a:gd name="connsiteY9" fmla="*/ 179915 h 328413"/>
                <a:gd name="connsiteX10" fmla="*/ 164207 w 328413"/>
                <a:gd name="connsiteY10" fmla="*/ 31400 h 328413"/>
                <a:gd name="connsiteX11" fmla="*/ 199746 w 328413"/>
                <a:gd name="connsiteY11" fmla="*/ 148515 h 328413"/>
                <a:gd name="connsiteX12" fmla="*/ 128736 w 328413"/>
                <a:gd name="connsiteY12" fmla="*/ 148515 h 328413"/>
                <a:gd name="connsiteX13" fmla="*/ 164207 w 328413"/>
                <a:gd name="connsiteY13" fmla="*/ 31400 h 328413"/>
                <a:gd name="connsiteX14" fmla="*/ 199746 w 328413"/>
                <a:gd name="connsiteY14" fmla="*/ 179915 h 328413"/>
                <a:gd name="connsiteX15" fmla="*/ 164207 w 328413"/>
                <a:gd name="connsiteY15" fmla="*/ 297013 h 328413"/>
                <a:gd name="connsiteX16" fmla="*/ 128667 w 328413"/>
                <a:gd name="connsiteY16" fmla="*/ 179915 h 328413"/>
                <a:gd name="connsiteX17" fmla="*/ 209653 w 328413"/>
                <a:gd name="connsiteY17" fmla="*/ 289029 h 328413"/>
                <a:gd name="connsiteX18" fmla="*/ 215472 w 328413"/>
                <a:gd name="connsiteY18" fmla="*/ 274394 h 328413"/>
                <a:gd name="connsiteX19" fmla="*/ 231060 w 328413"/>
                <a:gd name="connsiteY19" fmla="*/ 179950 h 328413"/>
                <a:gd name="connsiteX20" fmla="*/ 295974 w 328413"/>
                <a:gd name="connsiteY20" fmla="*/ 179950 h 328413"/>
                <a:gd name="connsiteX21" fmla="*/ 209653 w 328413"/>
                <a:gd name="connsiteY21" fmla="*/ 288994 h 328413"/>
                <a:gd name="connsiteX22" fmla="*/ 296060 w 328413"/>
                <a:gd name="connsiteY22" fmla="*/ 148550 h 328413"/>
                <a:gd name="connsiteX23" fmla="*/ 231147 w 328413"/>
                <a:gd name="connsiteY23" fmla="*/ 148550 h 328413"/>
                <a:gd name="connsiteX24" fmla="*/ 215559 w 328413"/>
                <a:gd name="connsiteY24" fmla="*/ 54089 h 328413"/>
                <a:gd name="connsiteX25" fmla="*/ 209740 w 328413"/>
                <a:gd name="connsiteY25" fmla="*/ 39454 h 328413"/>
                <a:gd name="connsiteX26" fmla="*/ 296060 w 328413"/>
                <a:gd name="connsiteY26" fmla="*/ 148515 h 328413"/>
                <a:gd name="connsiteX27" fmla="*/ 118760 w 328413"/>
                <a:gd name="connsiteY27" fmla="*/ 39437 h 328413"/>
                <a:gd name="connsiteX28" fmla="*/ 112941 w 328413"/>
                <a:gd name="connsiteY28" fmla="*/ 54072 h 328413"/>
                <a:gd name="connsiteX29" fmla="*/ 97267 w 328413"/>
                <a:gd name="connsiteY29" fmla="*/ 148532 h 328413"/>
                <a:gd name="connsiteX30" fmla="*/ 32353 w 328413"/>
                <a:gd name="connsiteY30" fmla="*/ 148532 h 328413"/>
                <a:gd name="connsiteX31" fmla="*/ 118760 w 328413"/>
                <a:gd name="connsiteY31" fmla="*/ 39419 h 32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28413" h="328413">
                  <a:moveTo>
                    <a:pt x="164207" y="328413"/>
                  </a:moveTo>
                  <a:cubicBezTo>
                    <a:pt x="254895" y="328413"/>
                    <a:pt x="328413" y="254895"/>
                    <a:pt x="328413" y="164207"/>
                  </a:cubicBezTo>
                  <a:cubicBezTo>
                    <a:pt x="328413" y="73518"/>
                    <a:pt x="254895" y="0"/>
                    <a:pt x="164207" y="0"/>
                  </a:cubicBezTo>
                  <a:cubicBezTo>
                    <a:pt x="73518" y="0"/>
                    <a:pt x="0" y="73518"/>
                    <a:pt x="0" y="164207"/>
                  </a:cubicBezTo>
                  <a:cubicBezTo>
                    <a:pt x="106" y="254852"/>
                    <a:pt x="73561" y="328308"/>
                    <a:pt x="164207" y="328413"/>
                  </a:cubicBezTo>
                  <a:close/>
                  <a:moveTo>
                    <a:pt x="32353" y="179915"/>
                  </a:moveTo>
                  <a:lnTo>
                    <a:pt x="97267" y="179915"/>
                  </a:lnTo>
                  <a:cubicBezTo>
                    <a:pt x="98514" y="215403"/>
                    <a:pt x="103969" y="248484"/>
                    <a:pt x="112941" y="274359"/>
                  </a:cubicBezTo>
                  <a:cubicBezTo>
                    <a:pt x="114811" y="279745"/>
                    <a:pt x="116751" y="284595"/>
                    <a:pt x="118760" y="288994"/>
                  </a:cubicBezTo>
                  <a:cubicBezTo>
                    <a:pt x="71741" y="271771"/>
                    <a:pt x="38358" y="229628"/>
                    <a:pt x="32353" y="179915"/>
                  </a:cubicBezTo>
                  <a:close/>
                  <a:moveTo>
                    <a:pt x="164207" y="31400"/>
                  </a:moveTo>
                  <a:cubicBezTo>
                    <a:pt x="173958" y="31400"/>
                    <a:pt x="196906" y="72309"/>
                    <a:pt x="199746" y="148515"/>
                  </a:cubicBezTo>
                  <a:lnTo>
                    <a:pt x="128736" y="148515"/>
                  </a:lnTo>
                  <a:cubicBezTo>
                    <a:pt x="131507" y="72309"/>
                    <a:pt x="154456" y="31400"/>
                    <a:pt x="164207" y="31400"/>
                  </a:cubicBezTo>
                  <a:close/>
                  <a:moveTo>
                    <a:pt x="199746" y="179915"/>
                  </a:moveTo>
                  <a:cubicBezTo>
                    <a:pt x="196906" y="256121"/>
                    <a:pt x="173958" y="297013"/>
                    <a:pt x="164207" y="297013"/>
                  </a:cubicBezTo>
                  <a:cubicBezTo>
                    <a:pt x="154456" y="297013"/>
                    <a:pt x="131507" y="256104"/>
                    <a:pt x="128667" y="179915"/>
                  </a:cubicBezTo>
                  <a:close/>
                  <a:moveTo>
                    <a:pt x="209653" y="289029"/>
                  </a:moveTo>
                  <a:cubicBezTo>
                    <a:pt x="211662" y="284629"/>
                    <a:pt x="213602" y="279780"/>
                    <a:pt x="215472" y="274394"/>
                  </a:cubicBezTo>
                  <a:cubicBezTo>
                    <a:pt x="224444" y="248518"/>
                    <a:pt x="229900" y="215507"/>
                    <a:pt x="231060" y="179950"/>
                  </a:cubicBezTo>
                  <a:lnTo>
                    <a:pt x="295974" y="179950"/>
                  </a:lnTo>
                  <a:cubicBezTo>
                    <a:pt x="289972" y="229629"/>
                    <a:pt x="256629" y="271751"/>
                    <a:pt x="209653" y="288994"/>
                  </a:cubicBezTo>
                  <a:close/>
                  <a:moveTo>
                    <a:pt x="296060" y="148550"/>
                  </a:moveTo>
                  <a:lnTo>
                    <a:pt x="231147" y="148550"/>
                  </a:lnTo>
                  <a:cubicBezTo>
                    <a:pt x="229900" y="113045"/>
                    <a:pt x="224444" y="79964"/>
                    <a:pt x="215559" y="54089"/>
                  </a:cubicBezTo>
                  <a:cubicBezTo>
                    <a:pt x="213689" y="48703"/>
                    <a:pt x="211749" y="43853"/>
                    <a:pt x="209740" y="39454"/>
                  </a:cubicBezTo>
                  <a:cubicBezTo>
                    <a:pt x="256721" y="56700"/>
                    <a:pt x="290066" y="98829"/>
                    <a:pt x="296060" y="148515"/>
                  </a:cubicBezTo>
                  <a:close/>
                  <a:moveTo>
                    <a:pt x="118760" y="39437"/>
                  </a:moveTo>
                  <a:cubicBezTo>
                    <a:pt x="116751" y="43836"/>
                    <a:pt x="114811" y="48685"/>
                    <a:pt x="112941" y="54072"/>
                  </a:cubicBezTo>
                  <a:cubicBezTo>
                    <a:pt x="103969" y="79947"/>
                    <a:pt x="98514" y="112958"/>
                    <a:pt x="97267" y="148532"/>
                  </a:cubicBezTo>
                  <a:lnTo>
                    <a:pt x="32353" y="148532"/>
                  </a:lnTo>
                  <a:cubicBezTo>
                    <a:pt x="38344" y="98806"/>
                    <a:pt x="71731" y="56647"/>
                    <a:pt x="118760" y="39419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: фигура 6">
              <a:extLst>
                <a:ext uri="{FF2B5EF4-FFF2-40B4-BE49-F238E27FC236}">
                  <a16:creationId xmlns:a16="http://schemas.microsoft.com/office/drawing/2014/main" xmlns="" id="{956F7D51-5AD2-48DD-9CA6-772CD54D7007}"/>
                </a:ext>
              </a:extLst>
            </p:cNvPr>
            <p:cNvSpPr/>
            <p:nvPr/>
          </p:nvSpPr>
          <p:spPr>
            <a:xfrm>
              <a:off x="5795049" y="2411832"/>
              <a:ext cx="235978" cy="251116"/>
            </a:xfrm>
            <a:custGeom>
              <a:avLst/>
              <a:gdLst>
                <a:gd name="connsiteX0" fmla="*/ 0 w 235978"/>
                <a:gd name="connsiteY0" fmla="*/ 188333 h 251116"/>
                <a:gd name="connsiteX1" fmla="*/ 102289 w 235978"/>
                <a:gd name="connsiteY1" fmla="*/ 188333 h 251116"/>
                <a:gd name="connsiteX2" fmla="*/ 102289 w 235978"/>
                <a:gd name="connsiteY2" fmla="*/ 219716 h 251116"/>
                <a:gd name="connsiteX3" fmla="*/ 70889 w 235978"/>
                <a:gd name="connsiteY3" fmla="*/ 219716 h 251116"/>
                <a:gd name="connsiteX4" fmla="*/ 70889 w 235978"/>
                <a:gd name="connsiteY4" fmla="*/ 251116 h 251116"/>
                <a:gd name="connsiteX5" fmla="*/ 165073 w 235978"/>
                <a:gd name="connsiteY5" fmla="*/ 251116 h 251116"/>
                <a:gd name="connsiteX6" fmla="*/ 165073 w 235978"/>
                <a:gd name="connsiteY6" fmla="*/ 219733 h 251116"/>
                <a:gd name="connsiteX7" fmla="*/ 133690 w 235978"/>
                <a:gd name="connsiteY7" fmla="*/ 219733 h 251116"/>
                <a:gd name="connsiteX8" fmla="*/ 133690 w 235978"/>
                <a:gd name="connsiteY8" fmla="*/ 188333 h 251116"/>
                <a:gd name="connsiteX9" fmla="*/ 235979 w 235978"/>
                <a:gd name="connsiteY9" fmla="*/ 188333 h 251116"/>
                <a:gd name="connsiteX10" fmla="*/ 235979 w 235978"/>
                <a:gd name="connsiteY10" fmla="*/ 0 h 251116"/>
                <a:gd name="connsiteX11" fmla="*/ 0 w 235978"/>
                <a:gd name="connsiteY11" fmla="*/ 0 h 251116"/>
                <a:gd name="connsiteX12" fmla="*/ 31400 w 235978"/>
                <a:gd name="connsiteY12" fmla="*/ 31383 h 251116"/>
                <a:gd name="connsiteX13" fmla="*/ 204596 w 235978"/>
                <a:gd name="connsiteY13" fmla="*/ 31383 h 251116"/>
                <a:gd name="connsiteX14" fmla="*/ 204596 w 235978"/>
                <a:gd name="connsiteY14" fmla="*/ 156932 h 251116"/>
                <a:gd name="connsiteX15" fmla="*/ 31400 w 235978"/>
                <a:gd name="connsiteY15" fmla="*/ 156932 h 25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978" h="251116">
                  <a:moveTo>
                    <a:pt x="0" y="188333"/>
                  </a:moveTo>
                  <a:lnTo>
                    <a:pt x="102289" y="188333"/>
                  </a:lnTo>
                  <a:lnTo>
                    <a:pt x="102289" y="219716"/>
                  </a:lnTo>
                  <a:lnTo>
                    <a:pt x="70889" y="219716"/>
                  </a:lnTo>
                  <a:lnTo>
                    <a:pt x="70889" y="251116"/>
                  </a:lnTo>
                  <a:lnTo>
                    <a:pt x="165073" y="251116"/>
                  </a:lnTo>
                  <a:lnTo>
                    <a:pt x="165073" y="219733"/>
                  </a:lnTo>
                  <a:lnTo>
                    <a:pt x="133690" y="219733"/>
                  </a:lnTo>
                  <a:lnTo>
                    <a:pt x="133690" y="188333"/>
                  </a:lnTo>
                  <a:lnTo>
                    <a:pt x="235979" y="188333"/>
                  </a:lnTo>
                  <a:lnTo>
                    <a:pt x="235979" y="0"/>
                  </a:lnTo>
                  <a:lnTo>
                    <a:pt x="0" y="0"/>
                  </a:lnTo>
                  <a:close/>
                  <a:moveTo>
                    <a:pt x="31400" y="31383"/>
                  </a:moveTo>
                  <a:lnTo>
                    <a:pt x="204596" y="31383"/>
                  </a:lnTo>
                  <a:lnTo>
                    <a:pt x="204596" y="156932"/>
                  </a:lnTo>
                  <a:lnTo>
                    <a:pt x="31400" y="156932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: фигура 7">
              <a:extLst>
                <a:ext uri="{FF2B5EF4-FFF2-40B4-BE49-F238E27FC236}">
                  <a16:creationId xmlns:a16="http://schemas.microsoft.com/office/drawing/2014/main" xmlns="" id="{1CC625EE-3983-4B5D-B554-D572197FF246}"/>
                </a:ext>
              </a:extLst>
            </p:cNvPr>
            <p:cNvSpPr/>
            <p:nvPr/>
          </p:nvSpPr>
          <p:spPr>
            <a:xfrm>
              <a:off x="6187752" y="2411832"/>
              <a:ext cx="235147" cy="251116"/>
            </a:xfrm>
            <a:custGeom>
              <a:avLst/>
              <a:gdLst>
                <a:gd name="connsiteX0" fmla="*/ 235148 w 235147"/>
                <a:gd name="connsiteY0" fmla="*/ 188333 h 251116"/>
                <a:gd name="connsiteX1" fmla="*/ 235148 w 235147"/>
                <a:gd name="connsiteY1" fmla="*/ 0 h 251116"/>
                <a:gd name="connsiteX2" fmla="*/ 0 w 235147"/>
                <a:gd name="connsiteY2" fmla="*/ 0 h 251116"/>
                <a:gd name="connsiteX3" fmla="*/ 0 w 235147"/>
                <a:gd name="connsiteY3" fmla="*/ 188333 h 251116"/>
                <a:gd name="connsiteX4" fmla="*/ 101874 w 235147"/>
                <a:gd name="connsiteY4" fmla="*/ 188333 h 251116"/>
                <a:gd name="connsiteX5" fmla="*/ 101874 w 235147"/>
                <a:gd name="connsiteY5" fmla="*/ 219716 h 251116"/>
                <a:gd name="connsiteX6" fmla="*/ 70491 w 235147"/>
                <a:gd name="connsiteY6" fmla="*/ 219716 h 251116"/>
                <a:gd name="connsiteX7" fmla="*/ 70491 w 235147"/>
                <a:gd name="connsiteY7" fmla="*/ 251116 h 251116"/>
                <a:gd name="connsiteX8" fmla="*/ 164657 w 235147"/>
                <a:gd name="connsiteY8" fmla="*/ 251116 h 251116"/>
                <a:gd name="connsiteX9" fmla="*/ 164657 w 235147"/>
                <a:gd name="connsiteY9" fmla="*/ 219733 h 251116"/>
                <a:gd name="connsiteX10" fmla="*/ 133274 w 235147"/>
                <a:gd name="connsiteY10" fmla="*/ 219733 h 251116"/>
                <a:gd name="connsiteX11" fmla="*/ 133274 w 235147"/>
                <a:gd name="connsiteY11" fmla="*/ 188333 h 251116"/>
                <a:gd name="connsiteX12" fmla="*/ 31400 w 235147"/>
                <a:gd name="connsiteY12" fmla="*/ 31400 h 251116"/>
                <a:gd name="connsiteX13" fmla="*/ 203747 w 235147"/>
                <a:gd name="connsiteY13" fmla="*/ 31400 h 251116"/>
                <a:gd name="connsiteX14" fmla="*/ 203747 w 235147"/>
                <a:gd name="connsiteY14" fmla="*/ 156950 h 251116"/>
                <a:gd name="connsiteX15" fmla="*/ 31400 w 235147"/>
                <a:gd name="connsiteY15" fmla="*/ 156950 h 25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5147" h="251116">
                  <a:moveTo>
                    <a:pt x="235148" y="188333"/>
                  </a:moveTo>
                  <a:lnTo>
                    <a:pt x="235148" y="0"/>
                  </a:lnTo>
                  <a:lnTo>
                    <a:pt x="0" y="0"/>
                  </a:lnTo>
                  <a:lnTo>
                    <a:pt x="0" y="188333"/>
                  </a:lnTo>
                  <a:lnTo>
                    <a:pt x="101874" y="188333"/>
                  </a:lnTo>
                  <a:lnTo>
                    <a:pt x="101874" y="219716"/>
                  </a:lnTo>
                  <a:lnTo>
                    <a:pt x="70491" y="219716"/>
                  </a:lnTo>
                  <a:lnTo>
                    <a:pt x="70491" y="251116"/>
                  </a:lnTo>
                  <a:lnTo>
                    <a:pt x="164657" y="251116"/>
                  </a:lnTo>
                  <a:lnTo>
                    <a:pt x="164657" y="219733"/>
                  </a:lnTo>
                  <a:lnTo>
                    <a:pt x="133274" y="219733"/>
                  </a:lnTo>
                  <a:lnTo>
                    <a:pt x="133274" y="188333"/>
                  </a:lnTo>
                  <a:close/>
                  <a:moveTo>
                    <a:pt x="31400" y="31400"/>
                  </a:moveTo>
                  <a:lnTo>
                    <a:pt x="203747" y="31400"/>
                  </a:lnTo>
                  <a:lnTo>
                    <a:pt x="203747" y="156950"/>
                  </a:lnTo>
                  <a:lnTo>
                    <a:pt x="31400" y="156950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: фигура 8">
              <a:extLst>
                <a:ext uri="{FF2B5EF4-FFF2-40B4-BE49-F238E27FC236}">
                  <a16:creationId xmlns:a16="http://schemas.microsoft.com/office/drawing/2014/main" xmlns="" id="{69A406D4-54B4-4747-8061-D41396AE92A9}"/>
                </a:ext>
              </a:extLst>
            </p:cNvPr>
            <p:cNvSpPr/>
            <p:nvPr/>
          </p:nvSpPr>
          <p:spPr>
            <a:xfrm>
              <a:off x="6062705" y="2396141"/>
              <a:ext cx="93352" cy="125566"/>
            </a:xfrm>
            <a:custGeom>
              <a:avLst/>
              <a:gdLst>
                <a:gd name="connsiteX0" fmla="*/ 61952 w 93352"/>
                <a:gd name="connsiteY0" fmla="*/ 0 h 125566"/>
                <a:gd name="connsiteX1" fmla="*/ 30569 w 93352"/>
                <a:gd name="connsiteY1" fmla="*/ 0 h 125566"/>
                <a:gd name="connsiteX2" fmla="*/ 30569 w 93352"/>
                <a:gd name="connsiteY2" fmla="*/ 94166 h 125566"/>
                <a:gd name="connsiteX3" fmla="*/ 0 w 93352"/>
                <a:gd name="connsiteY3" fmla="*/ 94166 h 125566"/>
                <a:gd name="connsiteX4" fmla="*/ 0 w 93352"/>
                <a:gd name="connsiteY4" fmla="*/ 125567 h 125566"/>
                <a:gd name="connsiteX5" fmla="*/ 93352 w 93352"/>
                <a:gd name="connsiteY5" fmla="*/ 125567 h 125566"/>
                <a:gd name="connsiteX6" fmla="*/ 93352 w 93352"/>
                <a:gd name="connsiteY6" fmla="*/ 94166 h 125566"/>
                <a:gd name="connsiteX7" fmla="*/ 61952 w 93352"/>
                <a:gd name="connsiteY7" fmla="*/ 94166 h 125566"/>
                <a:gd name="connsiteX8" fmla="*/ 61952 w 93352"/>
                <a:gd name="connsiteY8" fmla="*/ 0 h 12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352" h="125566">
                  <a:moveTo>
                    <a:pt x="61952" y="0"/>
                  </a:moveTo>
                  <a:lnTo>
                    <a:pt x="30569" y="0"/>
                  </a:lnTo>
                  <a:lnTo>
                    <a:pt x="30569" y="94166"/>
                  </a:lnTo>
                  <a:lnTo>
                    <a:pt x="0" y="94166"/>
                  </a:lnTo>
                  <a:lnTo>
                    <a:pt x="0" y="125567"/>
                  </a:lnTo>
                  <a:lnTo>
                    <a:pt x="93352" y="125567"/>
                  </a:lnTo>
                  <a:lnTo>
                    <a:pt x="93352" y="94166"/>
                  </a:lnTo>
                  <a:lnTo>
                    <a:pt x="61952" y="94166"/>
                  </a:lnTo>
                  <a:lnTo>
                    <a:pt x="61952" y="0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96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0366" y="4943517"/>
            <a:ext cx="2245921" cy="36419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едача информации по проводной связи</a:t>
            </a:r>
          </a:p>
        </p:txBody>
      </p:sp>
      <p:cxnSp>
        <p:nvCxnSpPr>
          <p:cNvPr id="98" name="Прямая со стрелкой 97"/>
          <p:cNvCxnSpPr/>
          <p:nvPr/>
        </p:nvCxnSpPr>
        <p:spPr bwMode="auto">
          <a:xfrm>
            <a:off x="3374090" y="2945648"/>
            <a:ext cx="0" cy="93143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>
                <a:alpha val="49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Прямая со стрелкой 98"/>
          <p:cNvCxnSpPr/>
          <p:nvPr/>
        </p:nvCxnSpPr>
        <p:spPr bwMode="auto">
          <a:xfrm>
            <a:off x="3382218" y="4499569"/>
            <a:ext cx="0" cy="113923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>
                <a:alpha val="49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7419" y="2200549"/>
            <a:ext cx="4885563" cy="122757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атчики</a:t>
            </a:r>
            <a:r>
              <a:rPr lang="ru-RU" sz="1122" dirty="0">
                <a:solidFill>
                  <a:schemeClr val="tx2"/>
                </a:solidFill>
                <a:latin typeface="Arial"/>
              </a:rPr>
              <a:t>: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122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инклинометры – контроль о</a:t>
            </a: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дки,</a:t>
            </a:r>
            <a:r>
              <a:rPr kumimoji="0" lang="ru-RU" sz="1122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уровня, перемещения, винтообразности, прогиба строительной конструкции</a:t>
            </a:r>
            <a:r>
              <a:rPr kumimoji="0" lang="ru-RU" sz="1122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1122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акселерометр – контроль мгновенных значении ускорения точек на строительной конструкции </a:t>
            </a:r>
          </a:p>
        </p:txBody>
      </p:sp>
      <p:pic>
        <p:nvPicPr>
          <p:cNvPr id="111" name="Рисунок 1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437" y="3685551"/>
            <a:ext cx="2151536" cy="2657307"/>
          </a:xfrm>
          <a:prstGeom prst="rect">
            <a:avLst/>
          </a:prstGeom>
        </p:spPr>
      </p:pic>
      <p:sp>
        <p:nvSpPr>
          <p:cNvPr id="112" name="AutoShape 250">
            <a:extLst>
              <a:ext uri="{FF2B5EF4-FFF2-40B4-BE49-F238E27FC236}">
                <a16:creationId xmlns:a16="http://schemas.microsoft.com/office/drawing/2014/main" xmlns="" id="{3F7BBFE3-3642-4538-9E8A-A0B3C9E11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5234" y="3703338"/>
            <a:ext cx="2738035" cy="15729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marR="0" lvl="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Информация:</a:t>
            </a:r>
          </a:p>
          <a:p>
            <a:pPr marR="0" lvl="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122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о текущем состоянии конструкции</a:t>
            </a:r>
          </a:p>
          <a:p>
            <a:pPr marR="0" lvl="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122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история работы строительной конструкции и воздействий на них</a:t>
            </a:r>
          </a:p>
          <a:p>
            <a:pPr marL="171450" marR="0" lvl="0" indent="-17145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122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22" dirty="0">
                <a:solidFill>
                  <a:schemeClr val="tx2"/>
                </a:solidFill>
                <a:latin typeface="Arial"/>
              </a:rPr>
              <a:t>прогноз изменения состояния на ближайший период</a:t>
            </a:r>
          </a:p>
        </p:txBody>
      </p:sp>
      <p:sp>
        <p:nvSpPr>
          <p:cNvPr id="114" name="Скругленный прямоугольник 113"/>
          <p:cNvSpPr/>
          <p:nvPr/>
        </p:nvSpPr>
        <p:spPr>
          <a:xfrm>
            <a:off x="3090664" y="2163457"/>
            <a:ext cx="2770091" cy="652254"/>
          </a:xfrm>
          <a:prstGeom prst="round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18" name="Скругленный прямоугольник 117"/>
          <p:cNvSpPr/>
          <p:nvPr/>
        </p:nvSpPr>
        <p:spPr>
          <a:xfrm>
            <a:off x="3090663" y="5761229"/>
            <a:ext cx="2770091" cy="652254"/>
          </a:xfrm>
          <a:prstGeom prst="round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21" name="Скругленная прямоугольная выноска 120"/>
          <p:cNvSpPr/>
          <p:nvPr/>
        </p:nvSpPr>
        <p:spPr>
          <a:xfrm>
            <a:off x="6271166" y="3558213"/>
            <a:ext cx="5544315" cy="2849704"/>
          </a:xfrm>
          <a:prstGeom prst="wedgeRoundRectCallout">
            <a:avLst>
              <a:gd name="adj1" fmla="val -57214"/>
              <a:gd name="adj2" fmla="val 36758"/>
              <a:gd name="adj3" fmla="val 16667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22" name="Скругленная прямоугольная выноска 121"/>
          <p:cNvSpPr/>
          <p:nvPr/>
        </p:nvSpPr>
        <p:spPr>
          <a:xfrm>
            <a:off x="6267644" y="2163457"/>
            <a:ext cx="5547837" cy="1304509"/>
          </a:xfrm>
          <a:prstGeom prst="wedgeRoundRectCallout">
            <a:avLst>
              <a:gd name="adj1" fmla="val -57352"/>
              <a:gd name="adj2" fmla="val -26837"/>
              <a:gd name="adj3" fmla="val 16667"/>
            </a:avLst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981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jDgKZ5LkuVnRy4KgOt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VOaEJ.qUeKPFplL7qL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RpA7KdeE6BikJ9BYqO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1CA6e4km6T2AnzmlY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PExVueESVPMWRoMQc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Rl5CsQEespgD5vZw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jUL5.exEeLzWC1N9cm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lTbSh4E29bdNAu3E_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7QHsGwyUqeu45B7X0B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NWxD48kaPfraKBtxn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PXA7_UTUm.EJuEd7Ow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K_txC3m06uZahJewLt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DKUit__E2vHYLIFGlA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heme/theme1.xml><?xml version="1.0" encoding="utf-8"?>
<a:theme xmlns:a="http://schemas.openxmlformats.org/drawingml/2006/main" name="34_Firm Format - Russian">
  <a:themeElements>
    <a:clrScheme name="SYQ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Severstal_new">
  <a:themeElements>
    <a:clrScheme name="Другая 106">
      <a:dk1>
        <a:srgbClr val="000000"/>
      </a:dk1>
      <a:lt1>
        <a:srgbClr val="FFFFFF"/>
      </a:lt1>
      <a:dk2>
        <a:srgbClr val="002F6C"/>
      </a:dk2>
      <a:lt2>
        <a:srgbClr val="909090"/>
      </a:lt2>
      <a:accent1>
        <a:srgbClr val="FF0000"/>
      </a:accent1>
      <a:accent2>
        <a:srgbClr val="001E46"/>
      </a:accent2>
      <a:accent3>
        <a:srgbClr val="6F263D"/>
      </a:accent3>
      <a:accent4>
        <a:srgbClr val="523178"/>
      </a:accent4>
      <a:accent5>
        <a:srgbClr val="00635B"/>
      </a:accent5>
      <a:accent6>
        <a:srgbClr val="696158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everstal_new">
  <a:themeElements>
    <a:clrScheme name="Другая 106">
      <a:dk1>
        <a:srgbClr val="000000"/>
      </a:dk1>
      <a:lt1>
        <a:srgbClr val="FFFFFF"/>
      </a:lt1>
      <a:dk2>
        <a:srgbClr val="002F6C"/>
      </a:dk2>
      <a:lt2>
        <a:srgbClr val="909090"/>
      </a:lt2>
      <a:accent1>
        <a:srgbClr val="FF0000"/>
      </a:accent1>
      <a:accent2>
        <a:srgbClr val="001E46"/>
      </a:accent2>
      <a:accent3>
        <a:srgbClr val="6F263D"/>
      </a:accent3>
      <a:accent4>
        <a:srgbClr val="523178"/>
      </a:accent4>
      <a:accent5>
        <a:srgbClr val="00635B"/>
      </a:accent5>
      <a:accent6>
        <a:srgbClr val="696158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9DBB8DA38A91A3428336E95F86F570B8" ma:contentTypeVersion="1" ma:contentTypeDescription="Создание документа." ma:contentTypeScope="" ma:versionID="d6ce9c5f38264d6cba9c754b252d900b">
  <xsd:schema xmlns:xsd="http://www.w3.org/2001/XMLSchema" xmlns:xs="http://www.w3.org/2001/XMLSchema" xmlns:p="http://schemas.microsoft.com/office/2006/metadata/properties" xmlns:ns2="5425abfd-8631-429a-b59c-3af97042193f" targetNamespace="http://schemas.microsoft.com/office/2006/metadata/properties" ma:root="true" ma:fieldsID="0e10650e0a48c0dfa947916a58b750e8" ns2:_="">
    <xsd:import namespace="5425abfd-8631-429a-b59c-3af97042193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25abfd-8631-429a-b59c-3af97042193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86E4B6-60DD-42BD-B1C7-1715ECCCC693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5425abfd-8631-429a-b59c-3af97042193f"/>
  </ds:schemaRefs>
</ds:datastoreItem>
</file>

<file path=customXml/itemProps2.xml><?xml version="1.0" encoding="utf-8"?>
<ds:datastoreItem xmlns:ds="http://schemas.openxmlformats.org/officeDocument/2006/customXml" ds:itemID="{54866E0D-E4F1-4CB9-B64C-D402EA3EA6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25abfd-8631-429a-b59c-3af9704219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D40CE1-2CC8-4313-8A76-C82E09FBD6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517</TotalTime>
  <Words>886</Words>
  <Application>Microsoft Office PowerPoint</Application>
  <PresentationFormat>Произвольный</PresentationFormat>
  <Paragraphs>134</Paragraphs>
  <Slides>7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3" baseType="lpstr">
      <vt:lpstr>34_Firm Format - Russian</vt:lpstr>
      <vt:lpstr>2_Severstal_new</vt:lpstr>
      <vt:lpstr>3_Severstal_new</vt:lpstr>
      <vt:lpstr>4_Severstal_new</vt:lpstr>
      <vt:lpstr>Severstal_new</vt:lpstr>
      <vt:lpstr>think-cell Slide</vt:lpstr>
      <vt:lpstr>Презентация PowerPoint</vt:lpstr>
      <vt:lpstr>Оценка технического состояния и эксплуатация ЗиС. Проблемы и причины</vt:lpstr>
      <vt:lpstr>Трансформация ОТС ЗиС</vt:lpstr>
      <vt:lpstr>Программный модуль «ОТС»</vt:lpstr>
      <vt:lpstr>Управление технического обслуживания и ремонта зданий и сооружений  (УТОиР ЗиС)</vt:lpstr>
      <vt:lpstr>Меры по снижению травматизма</vt:lpstr>
      <vt:lpstr>Система мониторинга инженерных конструкций ЗиС (СМИК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ffice</dc:creator>
  <cp:lastModifiedBy>о</cp:lastModifiedBy>
  <cp:revision>1291</cp:revision>
  <dcterms:created xsi:type="dcterms:W3CDTF">2018-07-05T12:56:36Z</dcterms:created>
  <dcterms:modified xsi:type="dcterms:W3CDTF">2026-05-08T06:3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B8DA38A91A3428336E95F86F570B8</vt:lpwstr>
  </property>
</Properties>
</file>